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slideLayouts/slideLayout31.xml" ContentType="application/vnd.openxmlformats-officedocument.presentationml.slideLayout+xml"/>
  <Override PartName="/ppt/tags/tag27.xml" ContentType="application/vnd.openxmlformats-officedocument.presentationml.tags+xml"/>
  <Override PartName="/docProps/custom.xml" ContentType="application/vnd.openxmlformats-officedocument.custom-properties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theme/theme14.xml" ContentType="application/vnd.openxmlformats-officedocument.them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diagrams/layout1.xml" ContentType="application/vnd.openxmlformats-officedocument.drawingml.diagramLayout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theme/theme10.xml" ContentType="application/vnd.openxmlformats-officedocument.theme+xml"/>
  <Override PartName="/ppt/slides/slide5.xml" ContentType="application/vnd.openxmlformats-officedocument.presentationml.slide+xml"/>
  <Default Extension="bin" ContentType="application/vnd.openxmlformats-officedocument.oleObject"/>
  <Default Extension="png" ContentType="image/png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7.xml" ContentType="application/vnd.openxmlformats-officedocument.presentationml.slideLayout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Default Extension="emf" ContentType="image/x-emf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9.xml" ContentType="application/vnd.openxmlformats-officedocument.presentationml.tags+xml"/>
  <Override PartName="/ppt/slideLayouts/slideLayout41.xml" ContentType="application/vnd.openxmlformats-officedocument.presentationml.slideLayout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7.xml" ContentType="application/vnd.openxmlformats-officedocument.presentationml.tags+xml"/>
  <Override PartName="/ppt/slideLayouts/slideLayout50.xml" ContentType="application/vnd.openxmlformats-officedocument.presentationml.slideLayout+xml"/>
  <Override PartName="/ppt/tags/tag26.xml" ContentType="application/vnd.openxmlformats-officedocument.presentationml.tags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ags/tag13.xml" ContentType="application/vnd.openxmlformats-officedocument.presentationml.tags+xml"/>
  <Override PartName="/ppt/theme/theme9.xml" ContentType="application/vnd.openxmlformats-officedocument.theme+xml"/>
  <Override PartName="/ppt/tags/tag22.xml" ContentType="application/vnd.openxmlformats-officedocument.presentationml.tags+xml"/>
  <Override PartName="/ppt/theme/theme13.xml" ContentType="application/vnd.openxmlformats-officedocument.theme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heme/theme7.xml" ContentType="application/vnd.openxmlformats-officedocument.theme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tags/tag29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slideLayouts/slideLayout40.xml" ContentType="application/vnd.openxmlformats-officedocument.presentationml.slide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theme/theme12.xml" ContentType="application/vnd.openxmlformats-officedocument.them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8" r:id="rId2"/>
    <p:sldMasterId id="2147483674" r:id="rId3"/>
    <p:sldMasterId id="2147483677" r:id="rId4"/>
    <p:sldMasterId id="2147483683" r:id="rId5"/>
    <p:sldMasterId id="2147483689" r:id="rId6"/>
    <p:sldMasterId id="2147483695" r:id="rId7"/>
    <p:sldMasterId id="2147483699" r:id="rId8"/>
    <p:sldMasterId id="2147483705" r:id="rId9"/>
    <p:sldMasterId id="2147483709" r:id="rId10"/>
    <p:sldMasterId id="2147483712" r:id="rId11"/>
    <p:sldMasterId id="2147483795" r:id="rId12"/>
  </p:sldMasterIdLst>
  <p:notesMasterIdLst>
    <p:notesMasterId r:id="rId30"/>
  </p:notesMasterIdLst>
  <p:handoutMasterIdLst>
    <p:handoutMasterId r:id="rId31"/>
  </p:handoutMasterIdLst>
  <p:sldIdLst>
    <p:sldId id="528" r:id="rId13"/>
    <p:sldId id="563" r:id="rId14"/>
    <p:sldId id="530" r:id="rId15"/>
    <p:sldId id="556" r:id="rId16"/>
    <p:sldId id="564" r:id="rId17"/>
    <p:sldId id="570" r:id="rId18"/>
    <p:sldId id="559" r:id="rId19"/>
    <p:sldId id="573" r:id="rId20"/>
    <p:sldId id="565" r:id="rId21"/>
    <p:sldId id="571" r:id="rId22"/>
    <p:sldId id="542" r:id="rId23"/>
    <p:sldId id="572" r:id="rId24"/>
    <p:sldId id="574" r:id="rId25"/>
    <p:sldId id="575" r:id="rId26"/>
    <p:sldId id="576" r:id="rId27"/>
    <p:sldId id="577" r:id="rId28"/>
    <p:sldId id="569" r:id="rId29"/>
  </p:sldIdLst>
  <p:sldSz cx="8961438" cy="6721475"/>
  <p:notesSz cx="6797675" cy="9928225"/>
  <p:custDataLst>
    <p:tags r:id="rId3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6906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381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0729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7637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4548" algn="l" defTabSz="913818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1454" algn="l" defTabSz="913818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198364" algn="l" defTabSz="913818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5276" algn="l" defTabSz="913818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  <p15:guide id="3" orient="horz">
          <p15:clr>
            <a:srgbClr val="A4A3A4"/>
          </p15:clr>
        </p15:guide>
        <p15:guide id="4" pos="1851">
          <p15:clr>
            <a:srgbClr val="A4A3A4"/>
          </p15:clr>
        </p15:guide>
        <p15:guide id="5" pos="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  <p15:guide id="5" orient="horz" pos="312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3477BA"/>
    <a:srgbClr val="BCDAFA"/>
    <a:srgbClr val="FFCC99"/>
    <a:srgbClr val="E1EBF7"/>
    <a:srgbClr val="3333FF"/>
    <a:srgbClr val="B6DF89"/>
    <a:srgbClr val="000000"/>
    <a:srgbClr val="FF9999"/>
    <a:srgbClr val="D4DEE8"/>
    <a:srgbClr val="D4ECBA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8163" autoAdjust="0"/>
    <p:restoredTop sz="97218" autoAdjust="0"/>
  </p:normalViewPr>
  <p:slideViewPr>
    <p:cSldViewPr snapToGrid="0" snapToObjects="1">
      <p:cViewPr varScale="1">
        <p:scale>
          <a:sx n="119" d="100"/>
          <a:sy n="119" d="100"/>
        </p:scale>
        <p:origin x="-1878" y="-96"/>
      </p:cViewPr>
      <p:guideLst>
        <p:guide orient="horz" pos="4233"/>
        <p:guide orient="horz"/>
        <p:guide/>
        <p:guide pos="1851"/>
        <p:guide pos="6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21552"/>
    </p:cViewPr>
  </p:sorterViewPr>
  <p:notesViewPr>
    <p:cSldViewPr snapToGrid="0" snapToObjects="1">
      <p:cViewPr varScale="1">
        <p:scale>
          <a:sx n="74" d="100"/>
          <a:sy n="74" d="100"/>
        </p:scale>
        <p:origin x="3336" y="72"/>
      </p:cViewPr>
      <p:guideLst>
        <p:guide orient="horz" pos="3120"/>
        <p:guide orient="horz" pos="3127"/>
        <p:guide orient="horz" pos="3128"/>
        <p:guide pos="2124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6245C6E-3796-4F83-8EDD-E07C98B6D903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1753F81-0867-4AEC-84FC-3A8DCA82064E}">
      <dgm:prSet phldrT="[Текст]"/>
      <dgm:spPr/>
      <dgm:t>
        <a:bodyPr/>
        <a:lstStyle/>
        <a:p>
          <a:r>
            <a:rPr lang="ru-RU" dirty="0" smtClean="0"/>
            <a:t>Вход</a:t>
          </a:r>
          <a:endParaRPr lang="ru-RU" dirty="0"/>
        </a:p>
      </dgm:t>
    </dgm:pt>
    <dgm:pt modelId="{E1E4F2C3-B3AB-4C1B-B373-2EDD4B345EFE}" type="parTrans" cxnId="{BE496522-090D-4506-B131-5D9A2A39EAAC}">
      <dgm:prSet/>
      <dgm:spPr/>
      <dgm:t>
        <a:bodyPr/>
        <a:lstStyle/>
        <a:p>
          <a:endParaRPr lang="ru-RU"/>
        </a:p>
      </dgm:t>
    </dgm:pt>
    <dgm:pt modelId="{E8D24A2E-DF47-4213-80A5-4839AC3CD901}" type="sibTrans" cxnId="{BE496522-090D-4506-B131-5D9A2A39EAAC}">
      <dgm:prSet/>
      <dgm:spPr/>
      <dgm:t>
        <a:bodyPr/>
        <a:lstStyle/>
        <a:p>
          <a:endParaRPr lang="ru-RU"/>
        </a:p>
      </dgm:t>
    </dgm:pt>
    <dgm:pt modelId="{56F096FC-8410-4596-9F1F-140576050B8B}">
      <dgm:prSet phldrT="[Текст]"/>
      <dgm:spPr/>
      <dgm:t>
        <a:bodyPr/>
        <a:lstStyle/>
        <a:p>
          <a:r>
            <a:rPr lang="ru-RU" dirty="0" smtClean="0"/>
            <a:t>в приёмную комнату</a:t>
          </a:r>
          <a:endParaRPr lang="ru-RU" dirty="0"/>
        </a:p>
      </dgm:t>
    </dgm:pt>
    <dgm:pt modelId="{91D7EB40-A681-48E7-B476-A0FD1AA1B09C}" type="parTrans" cxnId="{54093909-3271-4451-9B2F-DD15A720DCA3}">
      <dgm:prSet/>
      <dgm:spPr/>
      <dgm:t>
        <a:bodyPr/>
        <a:lstStyle/>
        <a:p>
          <a:endParaRPr lang="ru-RU"/>
        </a:p>
      </dgm:t>
    </dgm:pt>
    <dgm:pt modelId="{C987F718-2BF2-4CA5-AD8D-E5D1CE76F91A}" type="sibTrans" cxnId="{54093909-3271-4451-9B2F-DD15A720DCA3}">
      <dgm:prSet/>
      <dgm:spPr/>
      <dgm:t>
        <a:bodyPr/>
        <a:lstStyle/>
        <a:p>
          <a:endParaRPr lang="ru-RU"/>
        </a:p>
      </dgm:t>
    </dgm:pt>
    <dgm:pt modelId="{E2A019B9-7DFF-4F65-AA5D-A334B18FFE78}" type="pres">
      <dgm:prSet presAssocID="{66245C6E-3796-4F83-8EDD-E07C98B6D903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B594BCA2-1D90-435E-B0BF-D3CCEFAF4E82}" type="pres">
      <dgm:prSet presAssocID="{B1753F81-0867-4AEC-84FC-3A8DCA82064E}" presName="linNode" presStyleCnt="0"/>
      <dgm:spPr/>
    </dgm:pt>
    <dgm:pt modelId="{8D507699-5F81-4A14-87B8-A7423AD5E37A}" type="pres">
      <dgm:prSet presAssocID="{B1753F81-0867-4AEC-84FC-3A8DCA82064E}" presName="parentShp" presStyleLbl="node1" presStyleIdx="0" presStyleCnt="1" custLinFactNeighborX="0" custLinFactNeighborY="335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47BC876-BE77-47BB-A7A7-9C1D78F31E74}" type="pres">
      <dgm:prSet presAssocID="{B1753F81-0867-4AEC-84FC-3A8DCA82064E}" presName="childShp" presStyleLbl="bg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2A308AB-B125-47CD-A162-2F590CEE0EF4}" type="presOf" srcId="{66245C6E-3796-4F83-8EDD-E07C98B6D903}" destId="{E2A019B9-7DFF-4F65-AA5D-A334B18FFE78}" srcOrd="0" destOrd="0" presId="urn:microsoft.com/office/officeart/2005/8/layout/vList6"/>
    <dgm:cxn modelId="{D6AEC271-752C-4F3A-83AF-5624E13BF93D}" type="presOf" srcId="{56F096FC-8410-4596-9F1F-140576050B8B}" destId="{C47BC876-BE77-47BB-A7A7-9C1D78F31E74}" srcOrd="0" destOrd="0" presId="urn:microsoft.com/office/officeart/2005/8/layout/vList6"/>
    <dgm:cxn modelId="{54093909-3271-4451-9B2F-DD15A720DCA3}" srcId="{B1753F81-0867-4AEC-84FC-3A8DCA82064E}" destId="{56F096FC-8410-4596-9F1F-140576050B8B}" srcOrd="0" destOrd="0" parTransId="{91D7EB40-A681-48E7-B476-A0FD1AA1B09C}" sibTransId="{C987F718-2BF2-4CA5-AD8D-E5D1CE76F91A}"/>
    <dgm:cxn modelId="{BE496522-090D-4506-B131-5D9A2A39EAAC}" srcId="{66245C6E-3796-4F83-8EDD-E07C98B6D903}" destId="{B1753F81-0867-4AEC-84FC-3A8DCA82064E}" srcOrd="0" destOrd="0" parTransId="{E1E4F2C3-B3AB-4C1B-B373-2EDD4B345EFE}" sibTransId="{E8D24A2E-DF47-4213-80A5-4839AC3CD901}"/>
    <dgm:cxn modelId="{09262198-E77E-43A2-96CC-ED941D447E56}" type="presOf" srcId="{B1753F81-0867-4AEC-84FC-3A8DCA82064E}" destId="{8D507699-5F81-4A14-87B8-A7423AD5E37A}" srcOrd="0" destOrd="0" presId="urn:microsoft.com/office/officeart/2005/8/layout/vList6"/>
    <dgm:cxn modelId="{601F0BD6-1D90-41A4-BEF3-08B4E8913446}" type="presParOf" srcId="{E2A019B9-7DFF-4F65-AA5D-A334B18FFE78}" destId="{B594BCA2-1D90-435E-B0BF-D3CCEFAF4E82}" srcOrd="0" destOrd="0" presId="urn:microsoft.com/office/officeart/2005/8/layout/vList6"/>
    <dgm:cxn modelId="{D8094C38-8853-4224-AACA-8F4793FCD137}" type="presParOf" srcId="{B594BCA2-1D90-435E-B0BF-D3CCEFAF4E82}" destId="{8D507699-5F81-4A14-87B8-A7423AD5E37A}" srcOrd="0" destOrd="0" presId="urn:microsoft.com/office/officeart/2005/8/layout/vList6"/>
    <dgm:cxn modelId="{B32F61D3-C28D-479F-A169-085A6C97D93F}" type="presParOf" srcId="{B594BCA2-1D90-435E-B0BF-D3CCEFAF4E82}" destId="{C47BC876-BE77-47BB-A7A7-9C1D78F31E74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C47BC876-BE77-47BB-A7A7-9C1D78F31E74}">
      <dsp:nvSpPr>
        <dsp:cNvPr id="0" name=""/>
        <dsp:cNvSpPr/>
      </dsp:nvSpPr>
      <dsp:spPr>
        <a:xfrm>
          <a:off x="572395" y="0"/>
          <a:ext cx="858594" cy="412733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" tIns="5715" rIns="5715" bIns="5715" numCol="1" spcCol="1270" anchor="t" anchorCtr="0">
          <a:noAutofit/>
        </a:bodyPr>
        <a:lstStyle/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900" kern="1200" dirty="0" smtClean="0"/>
            <a:t>в приёмную комнату</a:t>
          </a:r>
          <a:endParaRPr lang="ru-RU" sz="900" kern="1200" dirty="0"/>
        </a:p>
      </dsp:txBody>
      <dsp:txXfrm>
        <a:off x="572395" y="0"/>
        <a:ext cx="858594" cy="412733"/>
      </dsp:txXfrm>
    </dsp:sp>
    <dsp:sp modelId="{8D507699-5F81-4A14-87B8-A7423AD5E37A}">
      <dsp:nvSpPr>
        <dsp:cNvPr id="0" name=""/>
        <dsp:cNvSpPr/>
      </dsp:nvSpPr>
      <dsp:spPr>
        <a:xfrm>
          <a:off x="0" y="0"/>
          <a:ext cx="572396" cy="41273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Вход</a:t>
          </a:r>
          <a:endParaRPr lang="ru-RU" sz="1600" kern="1200" dirty="0"/>
        </a:p>
      </dsp:txBody>
      <dsp:txXfrm>
        <a:off x="0" y="0"/>
        <a:ext cx="572396" cy="4127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88950" y="620713"/>
            <a:ext cx="5824538" cy="43703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1" y="5334831"/>
            <a:ext cx="5792746" cy="1229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3" y="9548096"/>
            <a:ext cx="539268" cy="184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7" y="110935"/>
            <a:ext cx="65" cy="122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478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00" indent="-115814" algn="l" defTabSz="89478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299847" indent="-180860" algn="l" defTabSz="89478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6767" indent="-125334" algn="l" defTabSz="89478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580" indent="-114228" algn="l" defTabSz="89478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4548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454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364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276" algn="l" defTabSz="9138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4831"/>
            <a:ext cx="5792746" cy="24626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82282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4831"/>
            <a:ext cx="5792746" cy="24626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45300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4831"/>
            <a:ext cx="5792746" cy="24626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04991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4831"/>
            <a:ext cx="5792746" cy="24626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951641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7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7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6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7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7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0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2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199870414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p:oleObj spid="_x0000_s263412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/>
              <a:t>Last Modified 12.30.2014 4:54 PM Russia TZ 2 Standard Time</a:t>
            </a:r>
            <a:endParaRPr lang="ru-RU" sz="900" dirty="0" smtClean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/>
              <a:t>Printed 12.5.2014 2:43 AM Russia TZ 2 Standard Time</a:t>
            </a:r>
            <a:endParaRPr lang="ru-RU" sz="900" dirty="0" smtClean="0"/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/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/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/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5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10265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92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4787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4787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5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90413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43912328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5181224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433268820"/>
              </p:ext>
            </p:extLst>
          </p:nvPr>
        </p:nvGraphicFramePr>
        <p:xfrm>
          <a:off x="1595" y="1595"/>
          <a:ext cx="1587" cy="1587"/>
        </p:xfrm>
        <a:graphic>
          <a:graphicData uri="http://schemas.openxmlformats.org/presentationml/2006/ole">
            <p:oleObj spid="_x0000_s207244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2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20" y="655645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2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2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7" y="7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1" tIns="45687" rIns="91371" bIns="45687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20" y="6443670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7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7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009782" y="2077144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9324557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5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60759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92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4787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4787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5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08464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329029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9549264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97731092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p:oleObj spid="_x0000_s210312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8051877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423818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2303546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4792135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0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64118051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589081477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p:oleObj spid="_x0000_s214401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3833547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2818668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4881408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865725724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p:oleObj spid="_x0000_s216449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3796856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967144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40112425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91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4878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4878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77429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958973089"/>
              </p:ext>
            </p:extLst>
          </p:nvPr>
        </p:nvGraphicFramePr>
        <p:xfrm>
          <a:off x="1600" y="1600"/>
          <a:ext cx="1587" cy="1587"/>
        </p:xfrm>
        <a:graphic>
          <a:graphicData uri="http://schemas.openxmlformats.org/presentationml/2006/ole">
            <p:oleObj spid="_x0000_s186797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7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25" y="655650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4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4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2" y="12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22" tIns="45662" rIns="91322" bIns="45662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25" y="6443675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82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12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009787" y="2077145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544343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0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1984830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766078756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p:oleObj spid="_x0000_s218497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8763318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142108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36586702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429269426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p:oleObj spid="_x0000_s220545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3730778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3909006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4231732931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p:oleObj spid="_x0000_s268358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0103251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828991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85535746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0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04860375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2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50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1107959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ight Triangle 6"/>
          <p:cNvSpPr/>
          <p:nvPr/>
        </p:nvSpPr>
        <p:spPr>
          <a:xfrm>
            <a:off x="0" y="2595236"/>
            <a:ext cx="3500562" cy="4126239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/>
          </a:p>
        </p:txBody>
      </p:sp>
      <p:sp>
        <p:nvSpPr>
          <p:cNvPr id="8" name="Freeform 7"/>
          <p:cNvSpPr/>
          <p:nvPr/>
        </p:nvSpPr>
        <p:spPr>
          <a:xfrm>
            <a:off x="-2332" y="-906"/>
            <a:ext cx="8963770" cy="6722382"/>
          </a:xfrm>
          <a:custGeom>
            <a:avLst/>
            <a:gdLst>
              <a:gd name="connsiteX0" fmla="*/ 0 w 3350419"/>
              <a:gd name="connsiteY0" fmla="*/ 2081213 h 2083594"/>
              <a:gd name="connsiteX1" fmla="*/ 3031331 w 3350419"/>
              <a:gd name="connsiteY1" fmla="*/ 0 h 2083594"/>
              <a:gd name="connsiteX2" fmla="*/ 3350419 w 3350419"/>
              <a:gd name="connsiteY2" fmla="*/ 80963 h 2083594"/>
              <a:gd name="connsiteX3" fmla="*/ 3350419 w 3350419"/>
              <a:gd name="connsiteY3" fmla="*/ 2083594 h 2083594"/>
              <a:gd name="connsiteX4" fmla="*/ 0 w 3350419"/>
              <a:gd name="connsiteY4" fmla="*/ 2081213 h 2083594"/>
              <a:gd name="connsiteX0" fmla="*/ 0 w 3112294"/>
              <a:gd name="connsiteY0" fmla="*/ 2019301 h 2083594"/>
              <a:gd name="connsiteX1" fmla="*/ 2793206 w 3112294"/>
              <a:gd name="connsiteY1" fmla="*/ 0 h 2083594"/>
              <a:gd name="connsiteX2" fmla="*/ 3112294 w 3112294"/>
              <a:gd name="connsiteY2" fmla="*/ 80963 h 2083594"/>
              <a:gd name="connsiteX3" fmla="*/ 3112294 w 3112294"/>
              <a:gd name="connsiteY3" fmla="*/ 2083594 h 2083594"/>
              <a:gd name="connsiteX4" fmla="*/ 0 w 3112294"/>
              <a:gd name="connsiteY4" fmla="*/ 2019301 h 2083594"/>
              <a:gd name="connsiteX0" fmla="*/ 0 w 3345656"/>
              <a:gd name="connsiteY0" fmla="*/ 2097882 h 2097882"/>
              <a:gd name="connsiteX1" fmla="*/ 3026568 w 3345656"/>
              <a:gd name="connsiteY1" fmla="*/ 0 h 2097882"/>
              <a:gd name="connsiteX2" fmla="*/ 3345656 w 3345656"/>
              <a:gd name="connsiteY2" fmla="*/ 80963 h 2097882"/>
              <a:gd name="connsiteX3" fmla="*/ 3345656 w 3345656"/>
              <a:gd name="connsiteY3" fmla="*/ 2083594 h 2097882"/>
              <a:gd name="connsiteX4" fmla="*/ 0 w 3345656"/>
              <a:gd name="connsiteY4" fmla="*/ 2097882 h 2097882"/>
              <a:gd name="connsiteX0" fmla="*/ 0 w 2800350"/>
              <a:gd name="connsiteY0" fmla="*/ 1935957 h 2083594"/>
              <a:gd name="connsiteX1" fmla="*/ 2481262 w 2800350"/>
              <a:gd name="connsiteY1" fmla="*/ 0 h 2083594"/>
              <a:gd name="connsiteX2" fmla="*/ 2800350 w 2800350"/>
              <a:gd name="connsiteY2" fmla="*/ 80963 h 2083594"/>
              <a:gd name="connsiteX3" fmla="*/ 2800350 w 2800350"/>
              <a:gd name="connsiteY3" fmla="*/ 2083594 h 2083594"/>
              <a:gd name="connsiteX4" fmla="*/ 0 w 2800350"/>
              <a:gd name="connsiteY4" fmla="*/ 1935957 h 2083594"/>
              <a:gd name="connsiteX0" fmla="*/ 0 w 3352800"/>
              <a:gd name="connsiteY0" fmla="*/ 2083594 h 2083594"/>
              <a:gd name="connsiteX1" fmla="*/ 3033712 w 3352800"/>
              <a:gd name="connsiteY1" fmla="*/ 0 h 2083594"/>
              <a:gd name="connsiteX2" fmla="*/ 3352800 w 3352800"/>
              <a:gd name="connsiteY2" fmla="*/ 80963 h 2083594"/>
              <a:gd name="connsiteX3" fmla="*/ 3352800 w 3352800"/>
              <a:gd name="connsiteY3" fmla="*/ 2083594 h 2083594"/>
              <a:gd name="connsiteX4" fmla="*/ 0 w 3352800"/>
              <a:gd name="connsiteY4" fmla="*/ 2083594 h 2083594"/>
              <a:gd name="connsiteX0" fmla="*/ 0 w 3352800"/>
              <a:gd name="connsiteY0" fmla="*/ 2002631 h 2002631"/>
              <a:gd name="connsiteX1" fmla="*/ 3033712 w 3352800"/>
              <a:gd name="connsiteY1" fmla="*/ 15716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988469 w 3352800"/>
              <a:gd name="connsiteY1" fmla="*/ 59530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3966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45314 w 3352800"/>
              <a:gd name="connsiteY1" fmla="*/ 1224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4839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75865 w 3352800"/>
              <a:gd name="connsiteY1" fmla="*/ 8178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901 h 2002901"/>
              <a:gd name="connsiteX1" fmla="*/ 2836585 w 3352800"/>
              <a:gd name="connsiteY1" fmla="*/ 0 h 2002901"/>
              <a:gd name="connsiteX2" fmla="*/ 3352800 w 3352800"/>
              <a:gd name="connsiteY2" fmla="*/ 270 h 2002901"/>
              <a:gd name="connsiteX3" fmla="*/ 3352800 w 3352800"/>
              <a:gd name="connsiteY3" fmla="*/ 2002901 h 2002901"/>
              <a:gd name="connsiteX4" fmla="*/ 0 w 3352800"/>
              <a:gd name="connsiteY4" fmla="*/ 2002901 h 2002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2800" h="2002901">
                <a:moveTo>
                  <a:pt x="0" y="2002901"/>
                </a:moveTo>
                <a:lnTo>
                  <a:pt x="2836585" y="0"/>
                </a:lnTo>
                <a:lnTo>
                  <a:pt x="3352800" y="270"/>
                </a:lnTo>
                <a:lnTo>
                  <a:pt x="3352800" y="2002901"/>
                </a:lnTo>
                <a:lnTo>
                  <a:pt x="0" y="2002901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 rot="19140000">
            <a:off x="800799" y="1695955"/>
            <a:ext cx="5535847" cy="1180331"/>
          </a:xfrm>
        </p:spPr>
        <p:txBody>
          <a:bodyPr bIns="8961"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 rot="19140000">
            <a:off x="1188074" y="2421736"/>
            <a:ext cx="6381135" cy="322704"/>
          </a:xfrm>
        </p:spPr>
        <p:txBody>
          <a:bodyPr tIns="8961">
            <a:normAutofit/>
          </a:bodyPr>
          <a:lstStyle>
            <a:lvl1pPr marL="0" indent="0" algn="l">
              <a:buNone/>
              <a:defRPr kumimoji="0" lang="en-US" sz="1400" b="0" i="0" u="none" strike="noStrike" kern="1200" cap="all" spc="392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Tunga" pitchFamily="2"/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896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itchFamily="34" charset="0"/>
              <a:buNone/>
              <a:tabLst/>
              <a:defRPr/>
            </a:pPr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/>
        </p:nvSpPr>
        <p:spPr>
          <a:xfrm>
            <a:off x="-2332" y="-906"/>
            <a:ext cx="8963770" cy="6722382"/>
          </a:xfrm>
          <a:custGeom>
            <a:avLst/>
            <a:gdLst>
              <a:gd name="connsiteX0" fmla="*/ 0 w 3350419"/>
              <a:gd name="connsiteY0" fmla="*/ 2081213 h 2083594"/>
              <a:gd name="connsiteX1" fmla="*/ 3031331 w 3350419"/>
              <a:gd name="connsiteY1" fmla="*/ 0 h 2083594"/>
              <a:gd name="connsiteX2" fmla="*/ 3350419 w 3350419"/>
              <a:gd name="connsiteY2" fmla="*/ 80963 h 2083594"/>
              <a:gd name="connsiteX3" fmla="*/ 3350419 w 3350419"/>
              <a:gd name="connsiteY3" fmla="*/ 2083594 h 2083594"/>
              <a:gd name="connsiteX4" fmla="*/ 0 w 3350419"/>
              <a:gd name="connsiteY4" fmla="*/ 2081213 h 2083594"/>
              <a:gd name="connsiteX0" fmla="*/ 0 w 3112294"/>
              <a:gd name="connsiteY0" fmla="*/ 2019301 h 2083594"/>
              <a:gd name="connsiteX1" fmla="*/ 2793206 w 3112294"/>
              <a:gd name="connsiteY1" fmla="*/ 0 h 2083594"/>
              <a:gd name="connsiteX2" fmla="*/ 3112294 w 3112294"/>
              <a:gd name="connsiteY2" fmla="*/ 80963 h 2083594"/>
              <a:gd name="connsiteX3" fmla="*/ 3112294 w 3112294"/>
              <a:gd name="connsiteY3" fmla="*/ 2083594 h 2083594"/>
              <a:gd name="connsiteX4" fmla="*/ 0 w 3112294"/>
              <a:gd name="connsiteY4" fmla="*/ 2019301 h 2083594"/>
              <a:gd name="connsiteX0" fmla="*/ 0 w 3345656"/>
              <a:gd name="connsiteY0" fmla="*/ 2097882 h 2097882"/>
              <a:gd name="connsiteX1" fmla="*/ 3026568 w 3345656"/>
              <a:gd name="connsiteY1" fmla="*/ 0 h 2097882"/>
              <a:gd name="connsiteX2" fmla="*/ 3345656 w 3345656"/>
              <a:gd name="connsiteY2" fmla="*/ 80963 h 2097882"/>
              <a:gd name="connsiteX3" fmla="*/ 3345656 w 3345656"/>
              <a:gd name="connsiteY3" fmla="*/ 2083594 h 2097882"/>
              <a:gd name="connsiteX4" fmla="*/ 0 w 3345656"/>
              <a:gd name="connsiteY4" fmla="*/ 2097882 h 2097882"/>
              <a:gd name="connsiteX0" fmla="*/ 0 w 2800350"/>
              <a:gd name="connsiteY0" fmla="*/ 1935957 h 2083594"/>
              <a:gd name="connsiteX1" fmla="*/ 2481262 w 2800350"/>
              <a:gd name="connsiteY1" fmla="*/ 0 h 2083594"/>
              <a:gd name="connsiteX2" fmla="*/ 2800350 w 2800350"/>
              <a:gd name="connsiteY2" fmla="*/ 80963 h 2083594"/>
              <a:gd name="connsiteX3" fmla="*/ 2800350 w 2800350"/>
              <a:gd name="connsiteY3" fmla="*/ 2083594 h 2083594"/>
              <a:gd name="connsiteX4" fmla="*/ 0 w 2800350"/>
              <a:gd name="connsiteY4" fmla="*/ 1935957 h 2083594"/>
              <a:gd name="connsiteX0" fmla="*/ 0 w 3352800"/>
              <a:gd name="connsiteY0" fmla="*/ 2083594 h 2083594"/>
              <a:gd name="connsiteX1" fmla="*/ 3033712 w 3352800"/>
              <a:gd name="connsiteY1" fmla="*/ 0 h 2083594"/>
              <a:gd name="connsiteX2" fmla="*/ 3352800 w 3352800"/>
              <a:gd name="connsiteY2" fmla="*/ 80963 h 2083594"/>
              <a:gd name="connsiteX3" fmla="*/ 3352800 w 3352800"/>
              <a:gd name="connsiteY3" fmla="*/ 2083594 h 2083594"/>
              <a:gd name="connsiteX4" fmla="*/ 0 w 3352800"/>
              <a:gd name="connsiteY4" fmla="*/ 2083594 h 2083594"/>
              <a:gd name="connsiteX0" fmla="*/ 0 w 3352800"/>
              <a:gd name="connsiteY0" fmla="*/ 2002631 h 2002631"/>
              <a:gd name="connsiteX1" fmla="*/ 3033712 w 3352800"/>
              <a:gd name="connsiteY1" fmla="*/ 15716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988469 w 3352800"/>
              <a:gd name="connsiteY1" fmla="*/ 59530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3966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45314 w 3352800"/>
              <a:gd name="connsiteY1" fmla="*/ 1224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4839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75865 w 3352800"/>
              <a:gd name="connsiteY1" fmla="*/ 8178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901 h 2002901"/>
              <a:gd name="connsiteX1" fmla="*/ 2836585 w 3352800"/>
              <a:gd name="connsiteY1" fmla="*/ 0 h 2002901"/>
              <a:gd name="connsiteX2" fmla="*/ 3352800 w 3352800"/>
              <a:gd name="connsiteY2" fmla="*/ 270 h 2002901"/>
              <a:gd name="connsiteX3" fmla="*/ 3352800 w 3352800"/>
              <a:gd name="connsiteY3" fmla="*/ 2002901 h 2002901"/>
              <a:gd name="connsiteX4" fmla="*/ 0 w 3352800"/>
              <a:gd name="connsiteY4" fmla="*/ 2002901 h 2002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2800" h="2002901">
                <a:moveTo>
                  <a:pt x="0" y="2002901"/>
                </a:moveTo>
                <a:lnTo>
                  <a:pt x="2836585" y="0"/>
                </a:lnTo>
                <a:lnTo>
                  <a:pt x="3352800" y="270"/>
                </a:lnTo>
                <a:lnTo>
                  <a:pt x="3352800" y="2002901"/>
                </a:lnTo>
                <a:lnTo>
                  <a:pt x="0" y="20029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/>
          </a:p>
        </p:txBody>
      </p:sp>
      <p:sp>
        <p:nvSpPr>
          <p:cNvPr id="7" name="Right Triangle 6"/>
          <p:cNvSpPr/>
          <p:nvPr/>
        </p:nvSpPr>
        <p:spPr>
          <a:xfrm>
            <a:off x="0" y="2595236"/>
            <a:ext cx="3500562" cy="4126239"/>
          </a:xfrm>
          <a:prstGeom prst="rtTriangle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19140000">
            <a:off x="803039" y="1692362"/>
            <a:ext cx="5538169" cy="1183471"/>
          </a:xfrm>
        </p:spPr>
        <p:txBody>
          <a:bodyPr bIns="8961" anchor="b"/>
          <a:lstStyle>
            <a:lvl1pPr algn="l">
              <a:defRPr kumimoji="0" lang="en-US" sz="31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9611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 rot="19140000">
            <a:off x="1191871" y="2419166"/>
            <a:ext cx="6380544" cy="322631"/>
          </a:xfrm>
        </p:spPr>
        <p:txBody>
          <a:bodyPr anchor="t">
            <a:normAutofit/>
          </a:bodyPr>
          <a:lstStyle>
            <a:lvl1pPr marL="0" indent="0">
              <a:buNone/>
              <a:defRPr kumimoji="0" lang="en-US" sz="1400" b="0" i="0" u="none" strike="noStrike" kern="1200" cap="all" spc="392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Tunga" pitchFamily="2"/>
              </a:defRPr>
            </a:lvl1pPr>
            <a:lvl2pPr marL="44805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961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441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79222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402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68833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3639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58444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8961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itchFamily="34" charset="0"/>
              <a:buNone/>
              <a:tabLst/>
              <a:defRPr/>
            </a:pPr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06530" y="1075436"/>
            <a:ext cx="3136503" cy="3638558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6179" y="1075436"/>
            <a:ext cx="3136503" cy="3638558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6530" y="1075436"/>
            <a:ext cx="3136503" cy="537718"/>
          </a:xfrm>
        </p:spPr>
        <p:txBody>
          <a:bodyPr anchor="b">
            <a:normAutofit/>
          </a:bodyPr>
          <a:lstStyle>
            <a:lvl1pPr marL="0" indent="0">
              <a:buNone/>
              <a:defRPr lang="en-US" sz="1400" b="0" kern="1200" cap="all" spc="392" baseline="0" dirty="0" smtClean="0">
                <a:solidFill>
                  <a:schemeClr val="tx1"/>
                </a:solidFill>
                <a:latin typeface="+mn-lt"/>
                <a:ea typeface="+mj-ea"/>
                <a:cs typeface="Tunga" pitchFamily="2"/>
              </a:defRPr>
            </a:lvl1pPr>
            <a:lvl2pPr marL="448056" indent="0">
              <a:buNone/>
              <a:defRPr sz="2000" b="1"/>
            </a:lvl2pPr>
            <a:lvl3pPr marL="896112" indent="0">
              <a:buNone/>
              <a:defRPr sz="1800" b="1"/>
            </a:lvl3pPr>
            <a:lvl4pPr marL="1344168" indent="0">
              <a:buNone/>
              <a:defRPr sz="1600" b="1"/>
            </a:lvl4pPr>
            <a:lvl5pPr marL="1792224" indent="0">
              <a:buNone/>
              <a:defRPr sz="1600" b="1"/>
            </a:lvl5pPr>
            <a:lvl6pPr marL="2240280" indent="0">
              <a:buNone/>
              <a:defRPr sz="1600" b="1"/>
            </a:lvl6pPr>
            <a:lvl7pPr marL="2688336" indent="0">
              <a:buNone/>
              <a:defRPr sz="1600" b="1"/>
            </a:lvl7pPr>
            <a:lvl8pPr marL="3136392" indent="0">
              <a:buNone/>
              <a:defRPr sz="1600" b="1"/>
            </a:lvl8pPr>
            <a:lvl9pPr marL="3584448" indent="0">
              <a:buNone/>
              <a:defRPr sz="1600" b="1"/>
            </a:lvl9pPr>
          </a:lstStyle>
          <a:p>
            <a:pPr marL="0" lvl="0" indent="0" algn="l" defTabSz="89611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02796" y="1667968"/>
            <a:ext cx="3136503" cy="304706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06179" y="1075436"/>
            <a:ext cx="3136503" cy="537718"/>
          </a:xfrm>
        </p:spPr>
        <p:txBody>
          <a:bodyPr anchor="b">
            <a:normAutofit/>
          </a:bodyPr>
          <a:lstStyle>
            <a:lvl1pPr marL="0" indent="0">
              <a:buNone/>
              <a:defRPr lang="en-US" sz="1400" b="0" kern="1200" cap="all" spc="392" baseline="0" dirty="0" smtClean="0">
                <a:solidFill>
                  <a:schemeClr val="tx1"/>
                </a:solidFill>
                <a:latin typeface="+mn-lt"/>
                <a:ea typeface="+mj-ea"/>
                <a:cs typeface="Tunga" pitchFamily="2"/>
              </a:defRPr>
            </a:lvl1pPr>
            <a:lvl2pPr marL="448056" indent="0">
              <a:buNone/>
              <a:defRPr sz="2000" b="1"/>
            </a:lvl2pPr>
            <a:lvl3pPr marL="896112" indent="0">
              <a:buNone/>
              <a:defRPr sz="1800" b="1"/>
            </a:lvl3pPr>
            <a:lvl4pPr marL="1344168" indent="0">
              <a:buNone/>
              <a:defRPr sz="1600" b="1"/>
            </a:lvl4pPr>
            <a:lvl5pPr marL="1792224" indent="0">
              <a:buNone/>
              <a:defRPr sz="1600" b="1"/>
            </a:lvl5pPr>
            <a:lvl6pPr marL="2240280" indent="0">
              <a:buNone/>
              <a:defRPr sz="1600" b="1"/>
            </a:lvl6pPr>
            <a:lvl7pPr marL="2688336" indent="0">
              <a:buNone/>
              <a:defRPr sz="1600" b="1"/>
            </a:lvl7pPr>
            <a:lvl8pPr marL="3136392" indent="0">
              <a:buNone/>
              <a:defRPr sz="1600" b="1"/>
            </a:lvl8pPr>
            <a:lvl9pPr marL="3584448" indent="0">
              <a:buNone/>
              <a:defRPr sz="1600" b="1"/>
            </a:lvl9pPr>
          </a:lstStyle>
          <a:p>
            <a:pPr marL="0" lvl="0" indent="0" algn="l" defTabSz="896112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06179" y="1667968"/>
            <a:ext cx="3136503" cy="304706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20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ight Triangle 16"/>
          <p:cNvSpPr/>
          <p:nvPr/>
        </p:nvSpPr>
        <p:spPr>
          <a:xfrm>
            <a:off x="0" y="2595236"/>
            <a:ext cx="3500562" cy="4126239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/>
          </a:p>
        </p:txBody>
      </p:sp>
      <p:sp>
        <p:nvSpPr>
          <p:cNvPr id="18" name="Right Triangle 17"/>
          <p:cNvSpPr/>
          <p:nvPr/>
        </p:nvSpPr>
        <p:spPr>
          <a:xfrm rot="5400000">
            <a:off x="424538" y="-424536"/>
            <a:ext cx="6721475" cy="7570551"/>
          </a:xfrm>
          <a:prstGeom prst="rtTriangle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marL="0" algn="ctr" defTabSz="896112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19140000">
            <a:off x="769259" y="1544728"/>
            <a:ext cx="5108020" cy="1067739"/>
          </a:xfrm>
        </p:spPr>
        <p:txBody>
          <a:bodyPr bIns="0" anchor="b"/>
          <a:lstStyle>
            <a:lvl1pPr algn="l">
              <a:defRPr kumimoji="0" lang="en-US" sz="2700" b="0" i="0" u="none" strike="noStrike" kern="1200" cap="all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89611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54727" y="2566777"/>
            <a:ext cx="3731756" cy="3258501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19140000">
            <a:off x="1272040" y="2208526"/>
            <a:ext cx="5679066" cy="610905"/>
          </a:xfrm>
        </p:spPr>
        <p:txBody>
          <a:bodyPr>
            <a:normAutofit/>
          </a:bodyPr>
          <a:lstStyle>
            <a:lvl1pPr marL="0" indent="0">
              <a:buNone/>
              <a:defRPr lang="en-US" sz="1400" b="1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48056" indent="0">
              <a:buNone/>
              <a:defRPr sz="1200"/>
            </a:lvl2pPr>
            <a:lvl3pPr marL="896112" indent="0">
              <a:buNone/>
              <a:defRPr sz="1000"/>
            </a:lvl3pPr>
            <a:lvl4pPr marL="1344168" indent="0">
              <a:buNone/>
              <a:defRPr sz="900"/>
            </a:lvl4pPr>
            <a:lvl5pPr marL="1792224" indent="0">
              <a:buNone/>
              <a:defRPr sz="900"/>
            </a:lvl5pPr>
            <a:lvl6pPr marL="2240280" indent="0">
              <a:buNone/>
              <a:defRPr sz="900"/>
            </a:lvl6pPr>
            <a:lvl7pPr marL="2688336" indent="0">
              <a:buNone/>
              <a:defRPr sz="900"/>
            </a:lvl7pPr>
            <a:lvl8pPr marL="3136392" indent="0">
              <a:buNone/>
              <a:defRPr sz="900"/>
            </a:lvl8pPr>
            <a:lvl9pPr marL="3584448" indent="0">
              <a:buNone/>
              <a:defRPr sz="900"/>
            </a:lvl9pPr>
          </a:lstStyle>
          <a:p>
            <a:pPr marL="0" marR="0" lvl="0" indent="0" algn="l" defTabSz="896112" rtl="0" eaLnBrk="1" fontAlgn="auto" latinLnBrk="0" hangingPunct="1">
              <a:lnSpc>
                <a:spcPct val="100000"/>
              </a:lnSpc>
              <a:spcBef>
                <a:spcPts val="294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itchFamily="34" charset="0"/>
              <a:buNone/>
              <a:tabLst/>
              <a:defRPr/>
            </a:pPr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kumimoji="0"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ln>
            <a:solidFill>
              <a:schemeClr val="tx2"/>
            </a:solidFill>
          </a:ln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988320" y="0"/>
            <a:ext cx="6973119" cy="6721475"/>
          </a:xfrm>
          <a:custGeom>
            <a:avLst/>
            <a:gdLst>
              <a:gd name="connsiteX0" fmla="*/ 0 w 7104888"/>
              <a:gd name="connsiteY0" fmla="*/ 0 h 6858000"/>
              <a:gd name="connsiteX1" fmla="*/ 7104888 w 7104888"/>
              <a:gd name="connsiteY1" fmla="*/ 0 h 6858000"/>
              <a:gd name="connsiteX2" fmla="*/ 7104888 w 7104888"/>
              <a:gd name="connsiteY2" fmla="*/ 6858000 h 6858000"/>
              <a:gd name="connsiteX3" fmla="*/ 0 w 7104888"/>
              <a:gd name="connsiteY3" fmla="*/ 6858000 h 6858000"/>
              <a:gd name="connsiteX4" fmla="*/ 0 w 7104888"/>
              <a:gd name="connsiteY4" fmla="*/ 0 h 6858000"/>
              <a:gd name="connsiteX0" fmla="*/ 0 w 7104888"/>
              <a:gd name="connsiteY0" fmla="*/ 0 h 6858000"/>
              <a:gd name="connsiteX1" fmla="*/ 5695188 w 7104888"/>
              <a:gd name="connsiteY1" fmla="*/ 0 h 6858000"/>
              <a:gd name="connsiteX2" fmla="*/ 7104888 w 7104888"/>
              <a:gd name="connsiteY2" fmla="*/ 0 h 6858000"/>
              <a:gd name="connsiteX3" fmla="*/ 7104888 w 7104888"/>
              <a:gd name="connsiteY3" fmla="*/ 6858000 h 6858000"/>
              <a:gd name="connsiteX4" fmla="*/ 0 w 7104888"/>
              <a:gd name="connsiteY4" fmla="*/ 6858000 h 6858000"/>
              <a:gd name="connsiteX5" fmla="*/ 0 w 7104888"/>
              <a:gd name="connsiteY5" fmla="*/ 0 h 6858000"/>
              <a:gd name="connsiteX0" fmla="*/ 10287 w 7115175"/>
              <a:gd name="connsiteY0" fmla="*/ 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0287 w 7115175"/>
              <a:gd name="connsiteY4" fmla="*/ 6858000 h 6858000"/>
              <a:gd name="connsiteX5" fmla="*/ 0 w 7115175"/>
              <a:gd name="connsiteY5" fmla="*/ 5048250 h 6858000"/>
              <a:gd name="connsiteX6" fmla="*/ 10287 w 7115175"/>
              <a:gd name="connsiteY6" fmla="*/ 0 h 6858000"/>
              <a:gd name="connsiteX0" fmla="*/ 10287 w 7115175"/>
              <a:gd name="connsiteY0" fmla="*/ 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533526 w 7115175"/>
              <a:gd name="connsiteY4" fmla="*/ 6848475 h 6858000"/>
              <a:gd name="connsiteX5" fmla="*/ 10287 w 7115175"/>
              <a:gd name="connsiteY5" fmla="*/ 6858000 h 6858000"/>
              <a:gd name="connsiteX6" fmla="*/ 0 w 7115175"/>
              <a:gd name="connsiteY6" fmla="*/ 5048250 h 6858000"/>
              <a:gd name="connsiteX7" fmla="*/ 10287 w 7115175"/>
              <a:gd name="connsiteY7" fmla="*/ 0 h 6858000"/>
              <a:gd name="connsiteX0" fmla="*/ 10287 w 7115175"/>
              <a:gd name="connsiteY0" fmla="*/ 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533526 w 7115175"/>
              <a:gd name="connsiteY4" fmla="*/ 6848475 h 6858000"/>
              <a:gd name="connsiteX5" fmla="*/ 0 w 7115175"/>
              <a:gd name="connsiteY5" fmla="*/ 5048250 h 6858000"/>
              <a:gd name="connsiteX6" fmla="*/ 10287 w 7115175"/>
              <a:gd name="connsiteY6" fmla="*/ 0 h 6858000"/>
              <a:gd name="connsiteX0" fmla="*/ 0 w 7115175"/>
              <a:gd name="connsiteY0" fmla="*/ 504825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533526 w 7115175"/>
              <a:gd name="connsiteY4" fmla="*/ 6848475 h 6858000"/>
              <a:gd name="connsiteX5" fmla="*/ 0 w 7115175"/>
              <a:gd name="connsiteY5" fmla="*/ 50482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5175" h="6858000">
                <a:moveTo>
                  <a:pt x="0" y="5048250"/>
                </a:moveTo>
                <a:lnTo>
                  <a:pt x="5705475" y="0"/>
                </a:lnTo>
                <a:lnTo>
                  <a:pt x="7115175" y="0"/>
                </a:lnTo>
                <a:lnTo>
                  <a:pt x="7115175" y="6858000"/>
                </a:lnTo>
                <a:lnTo>
                  <a:pt x="1533526" y="6848475"/>
                </a:lnTo>
                <a:lnTo>
                  <a:pt x="0" y="5048250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</p:spPr>
        <p:txBody>
          <a:bodyPr rIns="179222" anchor="ctr"/>
          <a:lstStyle>
            <a:lvl1pPr algn="r">
              <a:defRPr/>
            </a:lvl1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9" name="Right Triangle 8"/>
          <p:cNvSpPr/>
          <p:nvPr/>
        </p:nvSpPr>
        <p:spPr>
          <a:xfrm>
            <a:off x="0" y="2595236"/>
            <a:ext cx="3500562" cy="4126239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0" y="4947752"/>
            <a:ext cx="3500562" cy="1773723"/>
          </a:xfrm>
          <a:custGeom>
            <a:avLst/>
            <a:gdLst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3571875 w 3571875"/>
              <a:gd name="connsiteY2" fmla="*/ 4210050 h 4210050"/>
              <a:gd name="connsiteX3" fmla="*/ 0 w 3571875"/>
              <a:gd name="connsiteY3" fmla="*/ 4210050 h 4210050"/>
              <a:gd name="connsiteX0" fmla="*/ 0 w 3571875"/>
              <a:gd name="connsiteY0" fmla="*/ 1809750 h 1809750"/>
              <a:gd name="connsiteX1" fmla="*/ 1895475 w 3571875"/>
              <a:gd name="connsiteY1" fmla="*/ 0 h 1809750"/>
              <a:gd name="connsiteX2" fmla="*/ 3571875 w 3571875"/>
              <a:gd name="connsiteY2" fmla="*/ 1809750 h 1809750"/>
              <a:gd name="connsiteX3" fmla="*/ 0 w 3571875"/>
              <a:gd name="connsiteY3" fmla="*/ 1809750 h 1809750"/>
              <a:gd name="connsiteX0" fmla="*/ 0 w 3571875"/>
              <a:gd name="connsiteY0" fmla="*/ 1809750 h 1809750"/>
              <a:gd name="connsiteX1" fmla="*/ 2038350 w 3571875"/>
              <a:gd name="connsiteY1" fmla="*/ 0 h 1809750"/>
              <a:gd name="connsiteX2" fmla="*/ 3571875 w 3571875"/>
              <a:gd name="connsiteY2" fmla="*/ 1809750 h 1809750"/>
              <a:gd name="connsiteX3" fmla="*/ 0 w 3571875"/>
              <a:gd name="connsiteY3" fmla="*/ 1809750 h 1809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71875" h="1809750">
                <a:moveTo>
                  <a:pt x="0" y="1809750"/>
                </a:moveTo>
                <a:lnTo>
                  <a:pt x="2038350" y="0"/>
                </a:lnTo>
                <a:lnTo>
                  <a:pt x="3571875" y="1809750"/>
                </a:lnTo>
                <a:lnTo>
                  <a:pt x="0" y="1809750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19140000">
            <a:off x="657796" y="1683310"/>
            <a:ext cx="5376863" cy="850175"/>
          </a:xfrm>
        </p:spPr>
        <p:txBody>
          <a:bodyPr anchor="b"/>
          <a:lstStyle>
            <a:lvl1pPr algn="l">
              <a:defRPr sz="2700" b="0"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19140000">
            <a:off x="1120650" y="2137120"/>
            <a:ext cx="5974826" cy="725919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48056" indent="0">
              <a:buNone/>
              <a:defRPr sz="1200"/>
            </a:lvl2pPr>
            <a:lvl3pPr marL="896112" indent="0">
              <a:buNone/>
              <a:defRPr sz="1000"/>
            </a:lvl3pPr>
            <a:lvl4pPr marL="1344168" indent="0">
              <a:buNone/>
              <a:defRPr sz="900"/>
            </a:lvl4pPr>
            <a:lvl5pPr marL="1792224" indent="0">
              <a:buNone/>
              <a:defRPr sz="900"/>
            </a:lvl5pPr>
            <a:lvl6pPr marL="2240280" indent="0">
              <a:buNone/>
              <a:defRPr sz="900"/>
            </a:lvl6pPr>
            <a:lvl7pPr marL="2688336" indent="0">
              <a:buNone/>
              <a:defRPr sz="900"/>
            </a:lvl7pPr>
            <a:lvl8pPr marL="3136392" indent="0">
              <a:buNone/>
              <a:defRPr sz="900"/>
            </a:lvl8pPr>
            <a:lvl9pPr marL="358444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2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72965354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042" y="269172"/>
            <a:ext cx="2016324" cy="458522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8072" y="269172"/>
            <a:ext cx="5899613" cy="458522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2A5-4FE5-49D9-9E24-09F23B90C450}" type="datetimeFigureOut">
              <a:rPr lang="en-US" smtClean="0"/>
              <a:pPr/>
              <a:t>4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4C92D-0306-4E69-9CD3-20855E849650}" type="slidenum">
              <a:rPr kumimoji="0" lang="en-US" smtClean="0"/>
              <a:pPr/>
              <a:t>‹#›</a:t>
            </a:fld>
            <a:endParaRPr kumimoji="0" lang="en-US"/>
          </a:p>
        </p:txBody>
      </p:sp>
    </p:spTree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250401"/>
            <a:ext cx="6681176" cy="452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2303546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87757132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627377150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p:oleObj spid="_x0000_s202125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009781" y="2077143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0218967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xmlns="" val="3321855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532970644"/>
              </p:ext>
            </p:extLst>
          </p:nvPr>
        </p:nvGraphicFramePr>
        <p:xfrm>
          <a:off x="1595" y="1595"/>
          <a:ext cx="1587" cy="1587"/>
        </p:xfrm>
        <a:graphic>
          <a:graphicData uri="http://schemas.openxmlformats.org/presentationml/2006/ole">
            <p:oleObj spid="_x0000_s204172" name="think-cell Slide" r:id="rId4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2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20" y="655645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2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2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7" y="7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71" tIns="45687" rIns="91371" bIns="45687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7173920" y="6443670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7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700" y="190507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2009782" y="2077144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242394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10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oleObject" Target="../embeddings/oleObject19.bin"/><Relationship Id="rId5" Type="http://schemas.openxmlformats.org/officeDocument/2006/relationships/tags" Target="../tags/tag20.xml"/><Relationship Id="rId4" Type="http://schemas.openxmlformats.org/officeDocument/2006/relationships/vmlDrawing" Target="../drawings/vmlDrawing19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slideLayout" Target="../slideLayouts/slideLayout38.xml"/><Relationship Id="rId7" Type="http://schemas.openxmlformats.org/officeDocument/2006/relationships/tags" Target="../tags/tag2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vmlDrawing" Target="../drawings/vmlDrawing21.vml"/><Relationship Id="rId5" Type="http://schemas.openxmlformats.org/officeDocument/2006/relationships/theme" Target="../theme/theme1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5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vmlDrawing" Target="../drawings/vmlDrawing3.vml"/><Relationship Id="rId5" Type="http://schemas.openxmlformats.org/officeDocument/2006/relationships/theme" Target="../theme/theme2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5.bin"/><Relationship Id="rId5" Type="http://schemas.openxmlformats.org/officeDocument/2006/relationships/tags" Target="../tags/tag6.xml"/><Relationship Id="rId4" Type="http://schemas.openxmlformats.org/officeDocument/2006/relationships/vmlDrawing" Target="../drawings/vmlDrawing5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4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5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9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21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vmlDrawing" Target="../drawings/vmlDrawing11.vml"/><Relationship Id="rId5" Type="http://schemas.openxmlformats.org/officeDocument/2006/relationships/theme" Target="../theme/theme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5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3.vml"/><Relationship Id="rId4" Type="http://schemas.openxmlformats.org/officeDocument/2006/relationships/theme" Target="../theme/theme7.xml"/><Relationship Id="rId9" Type="http://schemas.openxmlformats.org/officeDocument/2006/relationships/image" Target="../media/image3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slideLayout" Target="../slideLayouts/slideLayout28.xml"/><Relationship Id="rId7" Type="http://schemas.openxmlformats.org/officeDocument/2006/relationships/vmlDrawing" Target="../drawings/vmlDrawing15.v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8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30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9.xml"/><Relationship Id="rId9" Type="http://schemas.openxmlformats.org/officeDocument/2006/relationships/oleObject" Target="../embeddings/oleObject15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3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tags" Target="../tags/tag18.xml"/><Relationship Id="rId5" Type="http://schemas.openxmlformats.org/officeDocument/2006/relationships/vmlDrawing" Target="../drawings/vmlDrawing17.vml"/><Relationship Id="rId4" Type="http://schemas.openxmlformats.org/officeDocument/2006/relationships/theme" Target="../theme/theme9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xmlns="" val="29601545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3035" name="think-cell Slide" r:id="rId6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/>
              <a:t>Last Modified 12.30.2014 4:54 PM Russia TZ 2 Standard Time</a:t>
            </a:r>
            <a:endParaRPr lang="ru-RU" dirty="0" smtClean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/>
              <a:t>Printed 12.5.2014 2:43 AM Russia TZ 2 Standard Time</a:t>
            </a:r>
            <a:endParaRPr lang="ru-RU" dirty="0" smtClean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TRACKER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baseline="0" dirty="0" smtClean="0">
                <a:latin typeface="+mn-lt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baseline="0" dirty="0" smtClean="0">
                <a:solidFill>
                  <a:schemeClr val="tx1"/>
                </a:solidFill>
                <a:latin typeface="+mn-lt"/>
              </a:rPr>
              <a:t>ИСТОЧНИК: источник</a:t>
            </a:r>
            <a:endParaRPr lang="ru-RU" sz="1000" baseline="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/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xmlns="" val="160399381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9521" name="think-cell Slide" r:id="rId6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329192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xmlns="" val="353506962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7334" name="think-cell Slide" r:id="rId8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302141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-2334" y="4950088"/>
            <a:ext cx="3502896" cy="1771388"/>
          </a:xfrm>
          <a:custGeom>
            <a:avLst/>
            <a:gdLst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3571875 w 3571875"/>
              <a:gd name="connsiteY2" fmla="*/ 4210050 h 4210050"/>
              <a:gd name="connsiteX3" fmla="*/ 0 w 3571875"/>
              <a:gd name="connsiteY3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88394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205038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281238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76450 w 3571875"/>
              <a:gd name="connsiteY2" fmla="*/ 2274094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245519 w 3571875"/>
              <a:gd name="connsiteY2" fmla="*/ 2405063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38350 w 3571875"/>
              <a:gd name="connsiteY2" fmla="*/ 2405063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2433637 h 2433637"/>
              <a:gd name="connsiteX1" fmla="*/ 257175 w 3571875"/>
              <a:gd name="connsiteY1" fmla="*/ 0 h 2433637"/>
              <a:gd name="connsiteX2" fmla="*/ 2038350 w 3571875"/>
              <a:gd name="connsiteY2" fmla="*/ 628650 h 2433637"/>
              <a:gd name="connsiteX3" fmla="*/ 3571875 w 3571875"/>
              <a:gd name="connsiteY3" fmla="*/ 2433637 h 2433637"/>
              <a:gd name="connsiteX4" fmla="*/ 0 w 3571875"/>
              <a:gd name="connsiteY4" fmla="*/ 2433637 h 2433637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2040732 w 3574257"/>
              <a:gd name="connsiteY2" fmla="*/ 2381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924051 w 3574257"/>
              <a:gd name="connsiteY2" fmla="*/ 307181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9749 h 1809749"/>
              <a:gd name="connsiteX1" fmla="*/ 0 w 3574257"/>
              <a:gd name="connsiteY1" fmla="*/ 2381 h 1809749"/>
              <a:gd name="connsiteX2" fmla="*/ 2038351 w 3574257"/>
              <a:gd name="connsiteY2" fmla="*/ 0 h 1809749"/>
              <a:gd name="connsiteX3" fmla="*/ 3574257 w 3574257"/>
              <a:gd name="connsiteY3" fmla="*/ 1809749 h 1809749"/>
              <a:gd name="connsiteX4" fmla="*/ 2382 w 3574257"/>
              <a:gd name="connsiteY4" fmla="*/ 1809749 h 1809749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640682 w 3574257"/>
              <a:gd name="connsiteY2" fmla="*/ 450057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9749 h 1809749"/>
              <a:gd name="connsiteX1" fmla="*/ 0 w 3574257"/>
              <a:gd name="connsiteY1" fmla="*/ 2381 h 1809749"/>
              <a:gd name="connsiteX2" fmla="*/ 2038351 w 3574257"/>
              <a:gd name="connsiteY2" fmla="*/ 0 h 1809749"/>
              <a:gd name="connsiteX3" fmla="*/ 3574257 w 3574257"/>
              <a:gd name="connsiteY3" fmla="*/ 1809749 h 1809749"/>
              <a:gd name="connsiteX4" fmla="*/ 2382 w 3574257"/>
              <a:gd name="connsiteY4" fmla="*/ 1809749 h 1809749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657351 w 3574257"/>
              <a:gd name="connsiteY2" fmla="*/ 230982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2040732 w 3574257"/>
              <a:gd name="connsiteY2" fmla="*/ 2382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774032 w 3574257"/>
              <a:gd name="connsiteY2" fmla="*/ 161925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969294 w 3574257"/>
              <a:gd name="connsiteY2" fmla="*/ 21432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819275 w 3574257"/>
              <a:gd name="connsiteY2" fmla="*/ 200026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2045494 w 3574257"/>
              <a:gd name="connsiteY2" fmla="*/ 1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74257" h="1807368">
                <a:moveTo>
                  <a:pt x="2382" y="1807368"/>
                </a:moveTo>
                <a:lnTo>
                  <a:pt x="0" y="0"/>
                </a:lnTo>
                <a:lnTo>
                  <a:pt x="2045494" y="1"/>
                </a:lnTo>
                <a:lnTo>
                  <a:pt x="3574257" y="1807368"/>
                </a:lnTo>
                <a:lnTo>
                  <a:pt x="2382" y="18073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/>
          </a:p>
        </p:txBody>
      </p:sp>
      <p:sp>
        <p:nvSpPr>
          <p:cNvPr id="8" name="Freeform 7"/>
          <p:cNvSpPr/>
          <p:nvPr/>
        </p:nvSpPr>
        <p:spPr>
          <a:xfrm>
            <a:off x="-2332" y="4950734"/>
            <a:ext cx="8963770" cy="1770742"/>
          </a:xfrm>
          <a:custGeom>
            <a:avLst/>
            <a:gdLst>
              <a:gd name="connsiteX0" fmla="*/ 0 w 3350419"/>
              <a:gd name="connsiteY0" fmla="*/ 2081213 h 2083594"/>
              <a:gd name="connsiteX1" fmla="*/ 3031331 w 3350419"/>
              <a:gd name="connsiteY1" fmla="*/ 0 h 2083594"/>
              <a:gd name="connsiteX2" fmla="*/ 3350419 w 3350419"/>
              <a:gd name="connsiteY2" fmla="*/ 80963 h 2083594"/>
              <a:gd name="connsiteX3" fmla="*/ 3350419 w 3350419"/>
              <a:gd name="connsiteY3" fmla="*/ 2083594 h 2083594"/>
              <a:gd name="connsiteX4" fmla="*/ 0 w 3350419"/>
              <a:gd name="connsiteY4" fmla="*/ 2081213 h 2083594"/>
              <a:gd name="connsiteX0" fmla="*/ 0 w 3112294"/>
              <a:gd name="connsiteY0" fmla="*/ 2019301 h 2083594"/>
              <a:gd name="connsiteX1" fmla="*/ 2793206 w 3112294"/>
              <a:gd name="connsiteY1" fmla="*/ 0 h 2083594"/>
              <a:gd name="connsiteX2" fmla="*/ 3112294 w 3112294"/>
              <a:gd name="connsiteY2" fmla="*/ 80963 h 2083594"/>
              <a:gd name="connsiteX3" fmla="*/ 3112294 w 3112294"/>
              <a:gd name="connsiteY3" fmla="*/ 2083594 h 2083594"/>
              <a:gd name="connsiteX4" fmla="*/ 0 w 3112294"/>
              <a:gd name="connsiteY4" fmla="*/ 2019301 h 2083594"/>
              <a:gd name="connsiteX0" fmla="*/ 0 w 3345656"/>
              <a:gd name="connsiteY0" fmla="*/ 2097882 h 2097882"/>
              <a:gd name="connsiteX1" fmla="*/ 3026568 w 3345656"/>
              <a:gd name="connsiteY1" fmla="*/ 0 h 2097882"/>
              <a:gd name="connsiteX2" fmla="*/ 3345656 w 3345656"/>
              <a:gd name="connsiteY2" fmla="*/ 80963 h 2097882"/>
              <a:gd name="connsiteX3" fmla="*/ 3345656 w 3345656"/>
              <a:gd name="connsiteY3" fmla="*/ 2083594 h 2097882"/>
              <a:gd name="connsiteX4" fmla="*/ 0 w 3345656"/>
              <a:gd name="connsiteY4" fmla="*/ 2097882 h 2097882"/>
              <a:gd name="connsiteX0" fmla="*/ 0 w 2800350"/>
              <a:gd name="connsiteY0" fmla="*/ 1935957 h 2083594"/>
              <a:gd name="connsiteX1" fmla="*/ 2481262 w 2800350"/>
              <a:gd name="connsiteY1" fmla="*/ 0 h 2083594"/>
              <a:gd name="connsiteX2" fmla="*/ 2800350 w 2800350"/>
              <a:gd name="connsiteY2" fmla="*/ 80963 h 2083594"/>
              <a:gd name="connsiteX3" fmla="*/ 2800350 w 2800350"/>
              <a:gd name="connsiteY3" fmla="*/ 2083594 h 2083594"/>
              <a:gd name="connsiteX4" fmla="*/ 0 w 2800350"/>
              <a:gd name="connsiteY4" fmla="*/ 1935957 h 2083594"/>
              <a:gd name="connsiteX0" fmla="*/ 0 w 3352800"/>
              <a:gd name="connsiteY0" fmla="*/ 2083594 h 2083594"/>
              <a:gd name="connsiteX1" fmla="*/ 3033712 w 3352800"/>
              <a:gd name="connsiteY1" fmla="*/ 0 h 2083594"/>
              <a:gd name="connsiteX2" fmla="*/ 3352800 w 3352800"/>
              <a:gd name="connsiteY2" fmla="*/ 80963 h 2083594"/>
              <a:gd name="connsiteX3" fmla="*/ 3352800 w 3352800"/>
              <a:gd name="connsiteY3" fmla="*/ 2083594 h 2083594"/>
              <a:gd name="connsiteX4" fmla="*/ 0 w 3352800"/>
              <a:gd name="connsiteY4" fmla="*/ 2083594 h 2083594"/>
              <a:gd name="connsiteX0" fmla="*/ 0 w 3352800"/>
              <a:gd name="connsiteY0" fmla="*/ 2002631 h 2002631"/>
              <a:gd name="connsiteX1" fmla="*/ 3033712 w 3352800"/>
              <a:gd name="connsiteY1" fmla="*/ 15716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988469 w 3352800"/>
              <a:gd name="connsiteY1" fmla="*/ 59530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3966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45314 w 3352800"/>
              <a:gd name="connsiteY1" fmla="*/ 1224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4839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75865 w 3352800"/>
              <a:gd name="connsiteY1" fmla="*/ 8178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901 h 2002901"/>
              <a:gd name="connsiteX1" fmla="*/ 2836585 w 3352800"/>
              <a:gd name="connsiteY1" fmla="*/ 0 h 2002901"/>
              <a:gd name="connsiteX2" fmla="*/ 3352800 w 3352800"/>
              <a:gd name="connsiteY2" fmla="*/ 270 h 2002901"/>
              <a:gd name="connsiteX3" fmla="*/ 3352800 w 3352800"/>
              <a:gd name="connsiteY3" fmla="*/ 2002901 h 2002901"/>
              <a:gd name="connsiteX4" fmla="*/ 0 w 3352800"/>
              <a:gd name="connsiteY4" fmla="*/ 2002901 h 2002901"/>
              <a:gd name="connsiteX0" fmla="*/ 0 w 3352800"/>
              <a:gd name="connsiteY0" fmla="*/ 2002631 h 2002631"/>
              <a:gd name="connsiteX1" fmla="*/ 754045 w 3352800"/>
              <a:gd name="connsiteY1" fmla="*/ 146832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534305 h 534305"/>
              <a:gd name="connsiteX1" fmla="*/ 754045 w 3352800"/>
              <a:gd name="connsiteY1" fmla="*/ 0 h 534305"/>
              <a:gd name="connsiteX2" fmla="*/ 3352800 w 3352800"/>
              <a:gd name="connsiteY2" fmla="*/ 7687 h 534305"/>
              <a:gd name="connsiteX3" fmla="*/ 3352800 w 3352800"/>
              <a:gd name="connsiteY3" fmla="*/ 534305 h 534305"/>
              <a:gd name="connsiteX4" fmla="*/ 0 w 3352800"/>
              <a:gd name="connsiteY4" fmla="*/ 534305 h 534305"/>
              <a:gd name="connsiteX0" fmla="*/ 0 w 3352800"/>
              <a:gd name="connsiteY0" fmla="*/ 534305 h 534305"/>
              <a:gd name="connsiteX1" fmla="*/ 754045 w 3352800"/>
              <a:gd name="connsiteY1" fmla="*/ 0 h 534305"/>
              <a:gd name="connsiteX2" fmla="*/ 3352800 w 3352800"/>
              <a:gd name="connsiteY2" fmla="*/ 7687 h 534305"/>
              <a:gd name="connsiteX3" fmla="*/ 3352800 w 3352800"/>
              <a:gd name="connsiteY3" fmla="*/ 534305 h 534305"/>
              <a:gd name="connsiteX4" fmla="*/ 0 w 3352800"/>
              <a:gd name="connsiteY4" fmla="*/ 534305 h 534305"/>
              <a:gd name="connsiteX0" fmla="*/ 0 w 3352800"/>
              <a:gd name="connsiteY0" fmla="*/ 526618 h 526618"/>
              <a:gd name="connsiteX1" fmla="*/ 980611 w 3352800"/>
              <a:gd name="connsiteY1" fmla="*/ 93681 h 526618"/>
              <a:gd name="connsiteX2" fmla="*/ 3352800 w 3352800"/>
              <a:gd name="connsiteY2" fmla="*/ 0 h 526618"/>
              <a:gd name="connsiteX3" fmla="*/ 3352800 w 3352800"/>
              <a:gd name="connsiteY3" fmla="*/ 526618 h 526618"/>
              <a:gd name="connsiteX4" fmla="*/ 0 w 3352800"/>
              <a:gd name="connsiteY4" fmla="*/ 526618 h 526618"/>
              <a:gd name="connsiteX0" fmla="*/ 0 w 3352800"/>
              <a:gd name="connsiteY0" fmla="*/ 526888 h 526888"/>
              <a:gd name="connsiteX1" fmla="*/ 744735 w 3352800"/>
              <a:gd name="connsiteY1" fmla="*/ 0 h 526888"/>
              <a:gd name="connsiteX2" fmla="*/ 3352800 w 3352800"/>
              <a:gd name="connsiteY2" fmla="*/ 270 h 526888"/>
              <a:gd name="connsiteX3" fmla="*/ 3352800 w 3352800"/>
              <a:gd name="connsiteY3" fmla="*/ 526888 h 526888"/>
              <a:gd name="connsiteX4" fmla="*/ 0 w 3352800"/>
              <a:gd name="connsiteY4" fmla="*/ 526888 h 526888"/>
              <a:gd name="connsiteX0" fmla="*/ 0 w 3352800"/>
              <a:gd name="connsiteY0" fmla="*/ 526618 h 526618"/>
              <a:gd name="connsiteX1" fmla="*/ 811948 w 3352800"/>
              <a:gd name="connsiteY1" fmla="*/ 60921 h 526618"/>
              <a:gd name="connsiteX2" fmla="*/ 3352800 w 3352800"/>
              <a:gd name="connsiteY2" fmla="*/ 0 h 526618"/>
              <a:gd name="connsiteX3" fmla="*/ 3352800 w 3352800"/>
              <a:gd name="connsiteY3" fmla="*/ 526618 h 526618"/>
              <a:gd name="connsiteX4" fmla="*/ 0 w 3352800"/>
              <a:gd name="connsiteY4" fmla="*/ 526618 h 526618"/>
              <a:gd name="connsiteX0" fmla="*/ 0 w 3352800"/>
              <a:gd name="connsiteY0" fmla="*/ 527584 h 527584"/>
              <a:gd name="connsiteX1" fmla="*/ 751718 w 3352800"/>
              <a:gd name="connsiteY1" fmla="*/ 0 h 527584"/>
              <a:gd name="connsiteX2" fmla="*/ 3352800 w 3352800"/>
              <a:gd name="connsiteY2" fmla="*/ 966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  <a:gd name="connsiteX0" fmla="*/ 0 w 3352800"/>
              <a:gd name="connsiteY0" fmla="*/ 527584 h 527584"/>
              <a:gd name="connsiteX1" fmla="*/ 751718 w 3352800"/>
              <a:gd name="connsiteY1" fmla="*/ 0 h 527584"/>
              <a:gd name="connsiteX2" fmla="*/ 3241069 w 3352800"/>
              <a:gd name="connsiteY2" fmla="*/ 94144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  <a:gd name="connsiteX0" fmla="*/ 0 w 3352800"/>
              <a:gd name="connsiteY0" fmla="*/ 527584 h 527584"/>
              <a:gd name="connsiteX1" fmla="*/ 751718 w 3352800"/>
              <a:gd name="connsiteY1" fmla="*/ 0 h 527584"/>
              <a:gd name="connsiteX2" fmla="*/ 3352800 w 3352800"/>
              <a:gd name="connsiteY2" fmla="*/ 271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  <a:gd name="connsiteX0" fmla="*/ 0 w 3352800"/>
              <a:gd name="connsiteY0" fmla="*/ 527313 h 527313"/>
              <a:gd name="connsiteX1" fmla="*/ 900984 w 3352800"/>
              <a:gd name="connsiteY1" fmla="*/ 97774 h 527313"/>
              <a:gd name="connsiteX2" fmla="*/ 3352800 w 3352800"/>
              <a:gd name="connsiteY2" fmla="*/ 0 h 527313"/>
              <a:gd name="connsiteX3" fmla="*/ 3352800 w 3352800"/>
              <a:gd name="connsiteY3" fmla="*/ 527313 h 527313"/>
              <a:gd name="connsiteX4" fmla="*/ 0 w 3352800"/>
              <a:gd name="connsiteY4" fmla="*/ 527313 h 527313"/>
              <a:gd name="connsiteX0" fmla="*/ 0 w 3352800"/>
              <a:gd name="connsiteY0" fmla="*/ 527584 h 527584"/>
              <a:gd name="connsiteX1" fmla="*/ 748227 w 3352800"/>
              <a:gd name="connsiteY1" fmla="*/ 0 h 527584"/>
              <a:gd name="connsiteX2" fmla="*/ 3352800 w 3352800"/>
              <a:gd name="connsiteY2" fmla="*/ 271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2800" h="527584">
                <a:moveTo>
                  <a:pt x="0" y="527584"/>
                </a:moveTo>
                <a:lnTo>
                  <a:pt x="748227" y="0"/>
                </a:lnTo>
                <a:lnTo>
                  <a:pt x="3352800" y="271"/>
                </a:lnTo>
                <a:lnTo>
                  <a:pt x="3352800" y="527584"/>
                </a:lnTo>
                <a:lnTo>
                  <a:pt x="0" y="527584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11" tIns="44806" rIns="89611" bIns="44806"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06529" y="358479"/>
            <a:ext cx="7370783" cy="537718"/>
          </a:xfrm>
          <a:prstGeom prst="rect">
            <a:avLst/>
          </a:prstGeom>
        </p:spPr>
        <p:txBody>
          <a:bodyPr vert="horz" lIns="89611" tIns="44806" rIns="89611" bIns="44806" rtlCol="0" anchor="ctr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6529" y="1078718"/>
            <a:ext cx="7370783" cy="3508583"/>
          </a:xfrm>
          <a:prstGeom prst="rect">
            <a:avLst/>
          </a:prstGeom>
        </p:spPr>
        <p:txBody>
          <a:bodyPr vert="horz" lIns="89611" tIns="44806" rIns="89611" bIns="44806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9140000">
            <a:off x="197152" y="5753583"/>
            <a:ext cx="2132822" cy="197163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62B1B13E-D5AF-485E-81A1-82A140076526}" type="datetime4">
              <a:rPr lang="en-US" smtClean="0"/>
              <a:pPr/>
              <a:t>April 22, 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47286" y="6160002"/>
            <a:ext cx="4630076" cy="268859"/>
          </a:xfrm>
          <a:prstGeom prst="rect">
            <a:avLst/>
          </a:prstGeom>
        </p:spPr>
        <p:txBody>
          <a:bodyPr vert="horz" lIns="89611" tIns="44806" rIns="89611" bIns="44806" rtlCol="0" anchor="ctr"/>
          <a:lstStyle>
            <a:lvl1pPr algn="r">
              <a:defRPr sz="1000" cap="all" spc="196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33309" y="6047977"/>
            <a:ext cx="492879" cy="492908"/>
          </a:xfrm>
          <a:prstGeom prst="ellipse">
            <a:avLst/>
          </a:prstGeom>
          <a:ln w="19050">
            <a:solidFill>
              <a:srgbClr val="FFFFFF"/>
            </a:solidFill>
          </a:ln>
        </p:spPr>
        <p:txBody>
          <a:bodyPr vert="horz" lIns="8961" tIns="8961" rIns="8961" bIns="8961" rtlCol="0" anchor="ctr">
            <a:normAutofit/>
          </a:bodyPr>
          <a:lstStyle>
            <a:lvl1pPr algn="ctr">
              <a:defRPr sz="1600">
                <a:solidFill>
                  <a:srgbClr val="FFFFFF"/>
                </a:solidFill>
              </a:defRPr>
            </a:lvl1pPr>
          </a:lstStyle>
          <a:p>
            <a:fld id="{2754ED01-E2A0-4C1E-8E21-014B99041579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</p:sldLayoutIdLst>
  <p:hf hdr="0" ftr="0" dt="0"/>
  <p:txStyles>
    <p:titleStyle>
      <a:lvl1pPr algn="l" defTabSz="896112" rtl="0" eaLnBrk="1" latinLnBrk="0" hangingPunct="1">
        <a:spcBef>
          <a:spcPct val="0"/>
        </a:spcBef>
        <a:buNone/>
        <a:defRPr sz="27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6042" indent="-336042" algn="l" defTabSz="896112" rtl="0" eaLnBrk="1" latinLnBrk="0" hangingPunct="1">
        <a:spcBef>
          <a:spcPts val="784"/>
        </a:spcBef>
        <a:buFont typeface="Arial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70261" indent="-170261" algn="l" defTabSz="896112" rtl="0" eaLnBrk="1" latinLnBrk="0" hangingPunct="1">
        <a:spcBef>
          <a:spcPts val="294"/>
        </a:spcBef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94289" indent="-161300" algn="l" defTabSz="896112" rtl="0" eaLnBrk="1" latinLnBrk="0" hangingPunct="1">
        <a:spcBef>
          <a:spcPts val="294"/>
        </a:spcBef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18317" indent="-161300" algn="l" defTabSz="896112" rtl="0" eaLnBrk="1" latinLnBrk="0" hangingPunct="1">
        <a:spcBef>
          <a:spcPts val="294"/>
        </a:spcBef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42345" indent="-170261" algn="l" defTabSz="896112" rtl="0" eaLnBrk="1" latinLnBrk="0" hangingPunct="1">
        <a:spcBef>
          <a:spcPts val="294"/>
        </a:spcBef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75334" indent="-170261" algn="l" defTabSz="896112" rtl="0" eaLnBrk="1" latinLnBrk="0" hangingPunct="1">
        <a:spcBef>
          <a:spcPts val="294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326246" indent="-161300" algn="l" defTabSz="896112" rtl="0" eaLnBrk="1" latinLnBrk="0" hangingPunct="1">
        <a:spcBef>
          <a:spcPts val="294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550274" indent="-161300" algn="l" defTabSz="896112" rtl="0" eaLnBrk="1" latinLnBrk="0" hangingPunct="1">
        <a:spcBef>
          <a:spcPts val="294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756380" indent="-161300" algn="l" defTabSz="896112" rtl="0" eaLnBrk="1" latinLnBrk="0" hangingPunct="1">
        <a:spcBef>
          <a:spcPts val="294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xmlns="" val="42672295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85773" name="think-cell Slide" r:id="rId8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603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50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74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8825" indent="-608825" defTabSz="894210">
              <a:tabLst>
                <a:tab pos="61199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22" tIns="91322" rIns="91322" bIns="91322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22" tIns="91322" rIns="91322" bIns="91322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136586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2" r:id="rId3"/>
    <p:sldLayoutId id="2147483673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210" rtl="0" eaLnBrk="1" fontAlgn="base" hangingPunct="1">
        <a:spcBef>
          <a:spcPct val="0"/>
        </a:spcBef>
        <a:spcAft>
          <a:spcPct val="0"/>
        </a:spcAft>
        <a:tabLst>
          <a:tab pos="356734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21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21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21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21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612" algn="l" defTabSz="89421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240" algn="l" defTabSz="89421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9859" algn="l" defTabSz="89421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6473" algn="l" defTabSz="89421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21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429" indent="-191845" algn="l" defTabSz="8942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612" indent="-261605" algn="l" defTabSz="8942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583" indent="-155379" algn="l" defTabSz="8942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8854" indent="-130009" algn="l" defTabSz="8942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8854" indent="-130009" algn="l" defTabSz="8942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8854" indent="-130009" algn="l" defTabSz="8942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8854" indent="-130009" algn="l" defTabSz="8942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8854" indent="-130009" algn="l" defTabSz="8942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12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40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59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73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94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13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330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50" algn="l" defTabSz="91324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xmlns="" val="115432843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1101" name="think-cell Slide" r:id="rId6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909803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="" val="36676954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3148" name="think-cell Slide" r:id="rId9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8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4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5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9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148" indent="-609148" defTabSz="894685">
              <a:tabLst>
                <a:tab pos="61232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70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71" tIns="91371" rIns="91371" bIns="9137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71" tIns="91371" rIns="91371" bIns="9137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63257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685" rtl="0" eaLnBrk="1" fontAlgn="base" hangingPunct="1">
        <a:spcBef>
          <a:spcPct val="0"/>
        </a:spcBef>
        <a:spcAft>
          <a:spcPct val="0"/>
        </a:spcAft>
        <a:tabLst>
          <a:tab pos="356923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857"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722"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584"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443"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32" indent="-191946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857" indent="-261744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08" indent="-155460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57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22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84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43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06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164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25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888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="" val="12883476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6220" name="think-cell Slide" r:id="rId9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8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4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5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9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148" indent="-609148" defTabSz="894685">
              <a:tabLst>
                <a:tab pos="61232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70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71" tIns="91371" rIns="91371" bIns="9137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71" tIns="91371" rIns="91371" bIns="9137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62" y="6320061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27733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685" rtl="0" eaLnBrk="1" fontAlgn="base" hangingPunct="1">
        <a:spcBef>
          <a:spcPct val="0"/>
        </a:spcBef>
        <a:spcAft>
          <a:spcPct val="0"/>
        </a:spcAft>
        <a:tabLst>
          <a:tab pos="356923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857"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722"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584"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443" algn="l" defTabSz="89468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32" indent="-191946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857" indent="-261744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08" indent="-155460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251" indent="-130078" algn="l" defTabSz="89468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57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22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84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43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06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164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25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888" algn="l" defTabSz="91372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xmlns="" val="384206482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9288" name="think-cell Slide" r:id="rId8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94255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4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xmlns="" val="379074147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3377" name="think-cell Slide" r:id="rId7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077098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xmlns="" val="19267600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5425" name="think-cell Slide" r:id="rId9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29294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xmlns="" val="90160888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7473" name="think-cell Slide" r:id="rId7" imgW="360" imgH="360" progId="">
              <p:embed/>
            </p:oleObj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499713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1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36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5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image" Target="../media/image39.jpeg"/><Relationship Id="rId7" Type="http://schemas.openxmlformats.org/officeDocument/2006/relationships/image" Target="../media/image43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42.jpeg"/><Relationship Id="rId5" Type="http://schemas.openxmlformats.org/officeDocument/2006/relationships/image" Target="../media/image41.jpeg"/><Relationship Id="rId4" Type="http://schemas.openxmlformats.org/officeDocument/2006/relationships/image" Target="../media/image40.jpeg"/><Relationship Id="rId9" Type="http://schemas.openxmlformats.org/officeDocument/2006/relationships/image" Target="../media/image45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3" Type="http://schemas.openxmlformats.org/officeDocument/2006/relationships/tags" Target="../tags/tag26.xml"/><Relationship Id="rId7" Type="http://schemas.openxmlformats.org/officeDocument/2006/relationships/slideLayout" Target="../slideLayouts/slideLayout46.xml"/><Relationship Id="rId12" Type="http://schemas.openxmlformats.org/officeDocument/2006/relationships/image" Target="../media/image18.png"/><Relationship Id="rId2" Type="http://schemas.openxmlformats.org/officeDocument/2006/relationships/tags" Target="../tags/tag25.xml"/><Relationship Id="rId16" Type="http://schemas.openxmlformats.org/officeDocument/2006/relationships/image" Target="../media/image22.png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image" Target="../media/image17.png"/><Relationship Id="rId5" Type="http://schemas.openxmlformats.org/officeDocument/2006/relationships/tags" Target="../tags/tag28.xml"/><Relationship Id="rId15" Type="http://schemas.openxmlformats.org/officeDocument/2006/relationships/image" Target="../media/image21.png"/><Relationship Id="rId10" Type="http://schemas.openxmlformats.org/officeDocument/2006/relationships/image" Target="../media/image16.png"/><Relationship Id="rId4" Type="http://schemas.openxmlformats.org/officeDocument/2006/relationships/tags" Target="../tags/tag27.xml"/><Relationship Id="rId9" Type="http://schemas.openxmlformats.org/officeDocument/2006/relationships/image" Target="../media/image15.png"/><Relationship Id="rId1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2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10" Type="http://schemas.openxmlformats.org/officeDocument/2006/relationships/image" Target="../media/image26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788670" y="2305111"/>
            <a:ext cx="8053647" cy="2954596"/>
          </a:xfrm>
          <a:prstGeom prst="rect">
            <a:avLst/>
          </a:prstGeom>
        </p:spPr>
        <p:txBody>
          <a:bodyPr wrap="square" lIns="91381" tIns="45691" rIns="91381" bIns="45691">
            <a:spAutoFit/>
          </a:bodyPr>
          <a:lstStyle/>
          <a:p>
            <a:pPr algn="ctr"/>
            <a:endParaRPr lang="ru-RU" sz="2400" b="1" dirty="0">
              <a:solidFill>
                <a:srgbClr val="3333FF"/>
              </a:solidFill>
            </a:endParaRPr>
          </a:p>
          <a:p>
            <a:pPr algn="ctr"/>
            <a:r>
              <a:rPr lang="ru-RU" sz="3600" b="1" i="1" dirty="0" smtClean="0">
                <a:solidFill>
                  <a:srgbClr val="0070C0"/>
                </a:solidFill>
              </a:rPr>
              <a:t>Оптимизация организации режимного момента- одевания детей на прогулку с помощью алгоритмов»</a:t>
            </a:r>
          </a:p>
          <a:p>
            <a:pPr algn="ctr"/>
            <a:endParaRPr lang="ru-RU" sz="1800" b="1" i="1" dirty="0" smtClean="0">
              <a:solidFill>
                <a:srgbClr val="0070C0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2010031" y="264441"/>
            <a:ext cx="5810787" cy="1384995"/>
          </a:xfrm>
        </p:spPr>
        <p:txBody>
          <a:bodyPr/>
          <a:lstStyle/>
          <a:p>
            <a:pPr algn="ctr"/>
            <a:r>
              <a:rPr lang="ru-RU" sz="1800" dirty="0" smtClean="0">
                <a:solidFill>
                  <a:srgbClr val="0070C0"/>
                </a:solidFill>
              </a:rPr>
              <a:t>Муниципальное автономное дошкольное образовательное учреждение</a:t>
            </a:r>
            <a:br>
              <a:rPr lang="ru-RU" sz="1800" dirty="0" smtClean="0">
                <a:solidFill>
                  <a:srgbClr val="0070C0"/>
                </a:solidFill>
              </a:rPr>
            </a:br>
            <a:r>
              <a:rPr lang="ru-RU" sz="1800" dirty="0" smtClean="0">
                <a:solidFill>
                  <a:srgbClr val="0070C0"/>
                </a:solidFill>
              </a:rPr>
              <a:t> </a:t>
            </a:r>
            <a:r>
              <a:rPr lang="ru-RU" sz="1800" dirty="0">
                <a:solidFill>
                  <a:srgbClr val="0070C0"/>
                </a:solidFill>
              </a:rPr>
              <a:t>Детский сад № </a:t>
            </a:r>
            <a:r>
              <a:rPr lang="ru-RU" sz="1800" dirty="0" smtClean="0">
                <a:solidFill>
                  <a:srgbClr val="0070C0"/>
                </a:solidFill>
              </a:rPr>
              <a:t>2 «орлёнок» </a:t>
            </a:r>
            <a:br>
              <a:rPr lang="ru-RU" sz="1800" dirty="0" smtClean="0">
                <a:solidFill>
                  <a:srgbClr val="0070C0"/>
                </a:solidFill>
              </a:rPr>
            </a:br>
            <a:r>
              <a:rPr lang="ru-RU" sz="1800" dirty="0" smtClean="0">
                <a:solidFill>
                  <a:srgbClr val="0070C0"/>
                </a:solidFill>
              </a:rPr>
              <a:t>муниципального образования </a:t>
            </a:r>
            <a:br>
              <a:rPr lang="ru-RU" sz="1800" dirty="0" smtClean="0">
                <a:solidFill>
                  <a:srgbClr val="0070C0"/>
                </a:solidFill>
              </a:rPr>
            </a:br>
            <a:r>
              <a:rPr lang="ru-RU" sz="1800" dirty="0" smtClean="0">
                <a:solidFill>
                  <a:srgbClr val="0070C0"/>
                </a:solidFill>
              </a:rPr>
              <a:t>город-курорт Анапа</a:t>
            </a:r>
            <a:endParaRPr lang="ru-RU" sz="1800" dirty="0">
              <a:solidFill>
                <a:srgbClr val="0070C0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17598" y="211996"/>
            <a:ext cx="1518527" cy="143744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973860" y="6289188"/>
            <a:ext cx="30063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accent3">
                    <a:lumMod val="50000"/>
                  </a:schemeClr>
                </a:solidFill>
              </a:rPr>
              <a:t>Город-курорт Анапа, 2024 год</a:t>
            </a:r>
            <a:endParaRPr lang="ru-RU" dirty="0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35560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Прямоугольник 185"/>
          <p:cNvSpPr/>
          <p:nvPr/>
        </p:nvSpPr>
        <p:spPr>
          <a:xfrm>
            <a:off x="-195896" y="-47195"/>
            <a:ext cx="4162415" cy="830938"/>
          </a:xfrm>
          <a:prstGeom prst="rect">
            <a:avLst/>
          </a:prstGeom>
        </p:spPr>
        <p:txBody>
          <a:bodyPr wrap="square" lIns="91381" tIns="45691" rIns="91381" bIns="45691">
            <a:spAutoFit/>
          </a:bodyPr>
          <a:lstStyle/>
          <a:p>
            <a:pPr algn="ctr"/>
            <a:r>
              <a:rPr lang="ru-RU" sz="2400" b="1" i="1" dirty="0">
                <a:solidFill>
                  <a:srgbClr val="0070C0"/>
                </a:solidFill>
              </a:rPr>
              <a:t>Карта </a:t>
            </a:r>
            <a:r>
              <a:rPr lang="ru-RU" sz="2400" b="1" i="1" dirty="0" smtClean="0">
                <a:solidFill>
                  <a:srgbClr val="0070C0"/>
                </a:solidFill>
              </a:rPr>
              <a:t>целевого состояния процесса </a:t>
            </a:r>
            <a:endParaRPr lang="ru-RU" sz="2400" b="1" i="1" dirty="0">
              <a:solidFill>
                <a:srgbClr val="0070C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458881" y="6783657"/>
            <a:ext cx="2087418" cy="56341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9" name="Rectangle 41"/>
          <p:cNvSpPr txBox="1">
            <a:spLocks/>
          </p:cNvSpPr>
          <p:nvPr/>
        </p:nvSpPr>
        <p:spPr>
          <a:xfrm>
            <a:off x="8471539" y="1900395"/>
            <a:ext cx="373358" cy="119445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vert270" lIns="34064" tIns="34064" rIns="34064" bIns="34064" anchor="ctr" anchorCtr="1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1200" b="1" i="1" dirty="0">
                <a:solidFill>
                  <a:schemeClr val="bg1"/>
                </a:solidFill>
              </a:rPr>
              <a:t>Выход процесса</a:t>
            </a:r>
          </a:p>
        </p:txBody>
      </p:sp>
      <p:sp>
        <p:nvSpPr>
          <p:cNvPr id="10" name="Rectangle 216"/>
          <p:cNvSpPr/>
          <p:nvPr/>
        </p:nvSpPr>
        <p:spPr>
          <a:xfrm>
            <a:off x="688603" y="1750717"/>
            <a:ext cx="1286523" cy="232701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Организация воспитанников к режимному моменту- одевание детей на прогулку.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1" name="Rectangle 216"/>
          <p:cNvSpPr/>
          <p:nvPr/>
        </p:nvSpPr>
        <p:spPr>
          <a:xfrm>
            <a:off x="2638707" y="1717576"/>
            <a:ext cx="1318590" cy="23403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  <a:p>
            <a:pPr algn="ctr"/>
            <a:endParaRPr lang="ru-RU" sz="1200" dirty="0" smtClean="0">
              <a:solidFill>
                <a:schemeClr val="tx1"/>
              </a:solidFill>
            </a:endParaRP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Самостоятельно подходят к шкафчикам и берут в соответствии с алгоритмами вещи для одевания на прогулку (в зависимости от сезона)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8" name="Rectangle 41"/>
          <p:cNvSpPr txBox="1">
            <a:spLocks/>
          </p:cNvSpPr>
          <p:nvPr/>
        </p:nvSpPr>
        <p:spPr>
          <a:xfrm>
            <a:off x="-19184" y="1771552"/>
            <a:ext cx="373358" cy="119445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vert270" lIns="34064" tIns="34064" rIns="34064" bIns="34064" anchor="ctr" anchorCtr="1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1200" b="1" i="1" dirty="0">
                <a:solidFill>
                  <a:schemeClr val="bg1"/>
                </a:solidFill>
              </a:rPr>
              <a:t>Вход процесса</a:t>
            </a:r>
          </a:p>
        </p:txBody>
      </p:sp>
      <p:sp>
        <p:nvSpPr>
          <p:cNvPr id="12" name="Rectangle 216"/>
          <p:cNvSpPr/>
          <p:nvPr/>
        </p:nvSpPr>
        <p:spPr>
          <a:xfrm>
            <a:off x="4612842" y="1750717"/>
            <a:ext cx="1318590" cy="23403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Воспитатель устно </a:t>
            </a:r>
            <a:r>
              <a:rPr lang="ru-RU" sz="1200" dirty="0" smtClean="0">
                <a:solidFill>
                  <a:schemeClr val="tx1"/>
                </a:solidFill>
              </a:rPr>
              <a:t>напоминает про алгоритмы- подсказки.</a:t>
            </a:r>
            <a:endParaRPr lang="en-US" sz="1200" dirty="0">
              <a:solidFill>
                <a:schemeClr val="tx1"/>
              </a:solidFill>
            </a:endParaRPr>
          </a:p>
          <a:p>
            <a:pPr algn="ctr"/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3" name="Rectangle 216"/>
          <p:cNvSpPr/>
          <p:nvPr/>
        </p:nvSpPr>
        <p:spPr>
          <a:xfrm>
            <a:off x="6592264" y="1692700"/>
            <a:ext cx="1318590" cy="236523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Готовность воспитателя и воспитанников к дальнейшему взаимодействию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28" name="Rectangle 41"/>
          <p:cNvSpPr txBox="1">
            <a:spLocks/>
          </p:cNvSpPr>
          <p:nvPr/>
        </p:nvSpPr>
        <p:spPr>
          <a:xfrm>
            <a:off x="680840" y="1382853"/>
            <a:ext cx="1318590" cy="32849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050" b="1" i="1" dirty="0" smtClean="0">
                <a:solidFill>
                  <a:schemeClr val="bg1"/>
                </a:solidFill>
              </a:rPr>
              <a:t>Шаг 1</a:t>
            </a:r>
            <a:endParaRPr lang="ru-RU" sz="1050" b="1" i="1" dirty="0">
              <a:solidFill>
                <a:schemeClr val="bg1"/>
              </a:solidFill>
            </a:endParaRPr>
          </a:p>
        </p:txBody>
      </p:sp>
      <p:sp>
        <p:nvSpPr>
          <p:cNvPr id="31" name="Rectangle 41"/>
          <p:cNvSpPr txBox="1">
            <a:spLocks/>
          </p:cNvSpPr>
          <p:nvPr/>
        </p:nvSpPr>
        <p:spPr>
          <a:xfrm>
            <a:off x="6592264" y="1315281"/>
            <a:ext cx="1318590" cy="32849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100" b="1" i="1" dirty="0" smtClean="0">
                <a:solidFill>
                  <a:schemeClr val="bg1"/>
                </a:solidFill>
              </a:rPr>
              <a:t>Шаг 4</a:t>
            </a:r>
            <a:endParaRPr lang="ru-RU" sz="1100" b="1" i="1" dirty="0">
              <a:solidFill>
                <a:schemeClr val="bg1"/>
              </a:solidFill>
            </a:endParaRPr>
          </a:p>
        </p:txBody>
      </p:sp>
      <p:sp>
        <p:nvSpPr>
          <p:cNvPr id="32" name="Rectangle 41"/>
          <p:cNvSpPr txBox="1">
            <a:spLocks/>
          </p:cNvSpPr>
          <p:nvPr/>
        </p:nvSpPr>
        <p:spPr>
          <a:xfrm>
            <a:off x="4612842" y="1379612"/>
            <a:ext cx="1318590" cy="32849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200" b="1" i="1" dirty="0" smtClean="0">
                <a:solidFill>
                  <a:schemeClr val="bg1"/>
                </a:solidFill>
              </a:rPr>
              <a:t>Шаг 3</a:t>
            </a:r>
            <a:endParaRPr lang="ru-RU" sz="1200" b="1" i="1" dirty="0">
              <a:solidFill>
                <a:schemeClr val="bg1"/>
              </a:solidFill>
            </a:endParaRPr>
          </a:p>
        </p:txBody>
      </p:sp>
      <p:sp>
        <p:nvSpPr>
          <p:cNvPr id="38" name="Right Arrow 225"/>
          <p:cNvSpPr>
            <a:spLocks/>
          </p:cNvSpPr>
          <p:nvPr/>
        </p:nvSpPr>
        <p:spPr>
          <a:xfrm>
            <a:off x="8099414" y="2238422"/>
            <a:ext cx="371603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9" name="Right Arrow 225"/>
          <p:cNvSpPr>
            <a:spLocks/>
          </p:cNvSpPr>
          <p:nvPr/>
        </p:nvSpPr>
        <p:spPr>
          <a:xfrm>
            <a:off x="2116212" y="2222895"/>
            <a:ext cx="399616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0" name="Right Arrow 225"/>
          <p:cNvSpPr>
            <a:spLocks/>
          </p:cNvSpPr>
          <p:nvPr/>
        </p:nvSpPr>
        <p:spPr>
          <a:xfrm>
            <a:off x="6059838" y="2238422"/>
            <a:ext cx="442783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1" name="Right Arrow 225"/>
          <p:cNvSpPr>
            <a:spLocks/>
          </p:cNvSpPr>
          <p:nvPr/>
        </p:nvSpPr>
        <p:spPr>
          <a:xfrm>
            <a:off x="4078792" y="2234703"/>
            <a:ext cx="434111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965198" y="1809901"/>
            <a:ext cx="819032" cy="261552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b="1" dirty="0" smtClean="0"/>
              <a:t>2-3  </a:t>
            </a:r>
            <a:r>
              <a:rPr lang="ru-RU" sz="1100" b="1" dirty="0"/>
              <a:t>мин</a:t>
            </a:r>
            <a:r>
              <a:rPr lang="ru-RU" sz="1100" dirty="0"/>
              <a:t>.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959847" y="1789382"/>
            <a:ext cx="851862" cy="261552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b="1" dirty="0" smtClean="0"/>
              <a:t>7-10 </a:t>
            </a:r>
            <a:r>
              <a:rPr lang="ru-RU" sz="1100" b="1" dirty="0"/>
              <a:t>мин</a:t>
            </a:r>
            <a:r>
              <a:rPr lang="ru-RU" sz="1100" dirty="0"/>
              <a:t>.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947008" y="1809901"/>
            <a:ext cx="767693" cy="261552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b="1" dirty="0" smtClean="0"/>
              <a:t>30 сек</a:t>
            </a:r>
            <a:r>
              <a:rPr lang="ru-RU" sz="1100" dirty="0" smtClean="0"/>
              <a:t>.</a:t>
            </a:r>
            <a:endParaRPr lang="ru-RU" sz="1100" dirty="0"/>
          </a:p>
        </p:txBody>
      </p:sp>
      <p:sp>
        <p:nvSpPr>
          <p:cNvPr id="46" name="TextBox 45"/>
          <p:cNvSpPr txBox="1"/>
          <p:nvPr/>
        </p:nvSpPr>
        <p:spPr>
          <a:xfrm>
            <a:off x="6656572" y="1790556"/>
            <a:ext cx="1254282" cy="261552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b="1" dirty="0" smtClean="0"/>
              <a:t>30 </a:t>
            </a:r>
            <a:r>
              <a:rPr lang="ru-RU" sz="1100" b="1" dirty="0" smtClean="0"/>
              <a:t>сек- 1 мин</a:t>
            </a:r>
            <a:r>
              <a:rPr lang="ru-RU" sz="1100" dirty="0"/>
              <a:t>.</a:t>
            </a:r>
          </a:p>
        </p:txBody>
      </p:sp>
      <p:sp>
        <p:nvSpPr>
          <p:cNvPr id="67" name="Rectangle 41"/>
          <p:cNvSpPr txBox="1">
            <a:spLocks/>
          </p:cNvSpPr>
          <p:nvPr/>
        </p:nvSpPr>
        <p:spPr>
          <a:xfrm>
            <a:off x="2638707" y="1364209"/>
            <a:ext cx="1318590" cy="32849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100" b="1" i="1" dirty="0" smtClean="0">
                <a:solidFill>
                  <a:schemeClr val="bg1"/>
                </a:solidFill>
              </a:rPr>
              <a:t>Шаг 2</a:t>
            </a:r>
            <a:endParaRPr lang="ru-RU" sz="1100" b="1" i="1" dirty="0">
              <a:solidFill>
                <a:schemeClr val="bg1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93640" y="2203807"/>
            <a:ext cx="438950" cy="365792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515828" y="4646141"/>
            <a:ext cx="47516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</a:rPr>
              <a:t>ВПП(время протекания процесса)- 10-15 мин</a:t>
            </a:r>
            <a:endParaRPr lang="ru-RU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761727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150620" y="242432"/>
            <a:ext cx="6681176" cy="5539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ируемые  результаты </a:t>
            </a:r>
            <a:br>
              <a:rPr lang="ru-R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800" b="1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McK 1. On-page tracker"/>
          <p:cNvSpPr>
            <a:spLocks noChangeArrowheads="1"/>
          </p:cNvSpPr>
          <p:nvPr/>
        </p:nvSpPr>
        <p:spPr bwMode="auto">
          <a:xfrm>
            <a:off x="4304536" y="26988"/>
            <a:ext cx="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just"/>
            <a:endParaRPr lang="ru-RU" sz="1400" dirty="0">
              <a:solidFill>
                <a:srgbClr val="808080"/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952797833"/>
              </p:ext>
            </p:extLst>
          </p:nvPr>
        </p:nvGraphicFramePr>
        <p:xfrm>
          <a:off x="1951655" y="748725"/>
          <a:ext cx="5375903" cy="4769168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660264">
                  <a:extLst>
                    <a:ext uri="{9D8B030D-6E8A-4147-A177-3AD203B41FA5}">
                      <a16:colId xmlns:a16="http://schemas.microsoft.com/office/drawing/2014/main" xmlns="" val="875272260"/>
                    </a:ext>
                  </a:extLst>
                </a:gridCol>
                <a:gridCol w="2395484">
                  <a:extLst>
                    <a:ext uri="{9D8B030D-6E8A-4147-A177-3AD203B41FA5}">
                      <a16:colId xmlns:a16="http://schemas.microsoft.com/office/drawing/2014/main" xmlns="" val="1486271383"/>
                    </a:ext>
                  </a:extLst>
                </a:gridCol>
                <a:gridCol w="2320155">
                  <a:extLst>
                    <a:ext uri="{9D8B030D-6E8A-4147-A177-3AD203B41FA5}">
                      <a16:colId xmlns:a16="http://schemas.microsoft.com/office/drawing/2014/main" xmlns="" val="18897859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№ п/п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БЫЛО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БУДЕТ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903831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сутствие в детском саду детей, по каким-либо причинам.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нижение пропусков </a:t>
                      </a:r>
                      <a:r>
                        <a:rPr lang="ru-RU" sz="1400" dirty="0" smtClean="0"/>
                        <a:t>воспитанников.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052554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Потеря времени при переодевании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Разработан стандарт процесса одевания на прогулку (по</a:t>
                      </a:r>
                      <a:r>
                        <a:rPr lang="ru-RU" sz="1400" baseline="0" dirty="0" smtClean="0"/>
                        <a:t> сезонам)</a:t>
                      </a:r>
                      <a:endParaRPr lang="ru-RU" sz="1400" dirty="0" smtClean="0"/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831017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3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изкий уровень самостоятельности детей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aseline="0" dirty="0" smtClean="0"/>
                        <a:t>Выработаны навыки самостоятельности.</a:t>
                      </a:r>
                      <a:endParaRPr lang="ru-RU" sz="1400" dirty="0" smtClean="0"/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441881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Беспорядок внутри детских шкафчиков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Блок - схем размещения вещей в шкафчике.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197165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5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Отсутствие единой системы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Разработка</a:t>
                      </a:r>
                      <a:r>
                        <a:rPr lang="ru-RU" sz="1400" baseline="0" dirty="0" smtClean="0"/>
                        <a:t> а</a:t>
                      </a:r>
                      <a:r>
                        <a:rPr lang="ru-RU" sz="1400" dirty="0" smtClean="0"/>
                        <a:t>лгоритмов</a:t>
                      </a:r>
                      <a:r>
                        <a:rPr lang="ru-RU" sz="1400" baseline="0" dirty="0" smtClean="0"/>
                        <a:t> одевания, раздевания</a:t>
                      </a:r>
                    </a:p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aseline="0" dirty="0" smtClean="0"/>
                        <a:t> (по сезонам)</a:t>
                      </a:r>
                      <a:endParaRPr lang="ru-RU" sz="1400" dirty="0" smtClean="0"/>
                    </a:p>
                    <a:p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34027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890038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150620" y="242432"/>
            <a:ext cx="6681176" cy="5539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ируемые  результаты </a:t>
            </a:r>
            <a:br>
              <a:rPr lang="ru-RU" sz="1800" b="1" i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800" b="1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McK 1. On-page tracker"/>
          <p:cNvSpPr>
            <a:spLocks noChangeArrowheads="1"/>
          </p:cNvSpPr>
          <p:nvPr/>
        </p:nvSpPr>
        <p:spPr bwMode="auto">
          <a:xfrm>
            <a:off x="4304536" y="26988"/>
            <a:ext cx="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just"/>
            <a:endParaRPr lang="ru-RU" sz="1400" dirty="0">
              <a:solidFill>
                <a:srgbClr val="808080"/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80947664"/>
              </p:ext>
            </p:extLst>
          </p:nvPr>
        </p:nvGraphicFramePr>
        <p:xfrm>
          <a:off x="1283147" y="668987"/>
          <a:ext cx="6213285" cy="4397121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541534">
                  <a:extLst>
                    <a:ext uri="{9D8B030D-6E8A-4147-A177-3AD203B41FA5}">
                      <a16:colId xmlns:a16="http://schemas.microsoft.com/office/drawing/2014/main" xmlns="" val="875272260"/>
                    </a:ext>
                  </a:extLst>
                </a:gridCol>
                <a:gridCol w="1964724">
                  <a:extLst>
                    <a:ext uri="{9D8B030D-6E8A-4147-A177-3AD203B41FA5}">
                      <a16:colId xmlns:a16="http://schemas.microsoft.com/office/drawing/2014/main" xmlns="" val="1486271383"/>
                    </a:ext>
                  </a:extLst>
                </a:gridCol>
                <a:gridCol w="1902941">
                  <a:extLst>
                    <a:ext uri="{9D8B030D-6E8A-4147-A177-3AD203B41FA5}">
                      <a16:colId xmlns:a16="http://schemas.microsoft.com/office/drawing/2014/main" xmlns="" val="1889785958"/>
                    </a:ext>
                  </a:extLst>
                </a:gridCol>
                <a:gridCol w="1804086">
                  <a:extLst>
                    <a:ext uri="{9D8B030D-6E8A-4147-A177-3AD203B41FA5}">
                      <a16:colId xmlns:a16="http://schemas.microsoft.com/office/drawing/2014/main" xmlns="" val="281565124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№ п/п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БЫЛО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СТАЛО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Главные внедрения</a:t>
                      </a:r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903831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1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сутствие в детском саду детей, по каким-либо причинам.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Снижение пропусков </a:t>
                      </a:r>
                      <a:r>
                        <a:rPr lang="ru-RU" sz="1200" dirty="0" smtClean="0"/>
                        <a:t>воспитанников.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052554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2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отеря времени при переодевании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Разработан стандарт процесса одевания на прогулку (по</a:t>
                      </a:r>
                      <a:r>
                        <a:rPr lang="ru-RU" sz="1200" baseline="0" dirty="0" smtClean="0"/>
                        <a:t> сезонам)</a:t>
                      </a:r>
                      <a:endParaRPr lang="ru-RU" sz="1200" dirty="0" smtClean="0"/>
                    </a:p>
                    <a:p>
                      <a:pPr algn="ctr"/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тандарт процесса одевания (раздевания)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831017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3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Низкий уровень самостоятельности детей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aseline="0" dirty="0" smtClean="0"/>
                        <a:t>Выработаны навыки самостоятельности.</a:t>
                      </a:r>
                      <a:endParaRPr lang="ru-RU" sz="1200" dirty="0" smtClean="0"/>
                    </a:p>
                    <a:p>
                      <a:pPr algn="ctr"/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441881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4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Беспорядок внутри детских шкафчиков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Блок - схем размещения вещей в шкафчике.</a:t>
                      </a:r>
                    </a:p>
                    <a:p>
                      <a:pPr algn="ctr"/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Блок – схемы внутри детских шкафов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197165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5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Отсутствие единой системы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Разработка</a:t>
                      </a:r>
                      <a:r>
                        <a:rPr lang="ru-RU" sz="1200" baseline="0" dirty="0" smtClean="0"/>
                        <a:t> а</a:t>
                      </a:r>
                      <a:r>
                        <a:rPr lang="ru-RU" sz="1200" dirty="0" smtClean="0"/>
                        <a:t>лгоритмов</a:t>
                      </a:r>
                      <a:r>
                        <a:rPr lang="ru-RU" sz="1200" baseline="0" dirty="0" smtClean="0"/>
                        <a:t> одевания, раздевания</a:t>
                      </a:r>
                    </a:p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aseline="0" dirty="0" smtClean="0"/>
                        <a:t> (по сезонам)</a:t>
                      </a:r>
                      <a:endParaRPr lang="ru-RU" sz="1200" dirty="0" smtClean="0"/>
                    </a:p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Алгоритмы одевания (раздевания), в зависимости</a:t>
                      </a:r>
                      <a:r>
                        <a:rPr lang="ru-RU" sz="1400" baseline="0" dirty="0" smtClean="0"/>
                        <a:t> от сезона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3402725"/>
                  </a:ext>
                </a:extLst>
              </a:tr>
            </a:tbl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550651294"/>
              </p:ext>
            </p:extLst>
          </p:nvPr>
        </p:nvGraphicFramePr>
        <p:xfrm>
          <a:off x="1283147" y="4838842"/>
          <a:ext cx="6213285" cy="457200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541534">
                  <a:extLst>
                    <a:ext uri="{9D8B030D-6E8A-4147-A177-3AD203B41FA5}">
                      <a16:colId xmlns:a16="http://schemas.microsoft.com/office/drawing/2014/main" xmlns="" val="2054614510"/>
                    </a:ext>
                  </a:extLst>
                </a:gridCol>
                <a:gridCol w="1964724">
                  <a:extLst>
                    <a:ext uri="{9D8B030D-6E8A-4147-A177-3AD203B41FA5}">
                      <a16:colId xmlns:a16="http://schemas.microsoft.com/office/drawing/2014/main" xmlns="" val="888117351"/>
                    </a:ext>
                  </a:extLst>
                </a:gridCol>
                <a:gridCol w="1902941">
                  <a:extLst>
                    <a:ext uri="{9D8B030D-6E8A-4147-A177-3AD203B41FA5}">
                      <a16:colId xmlns:a16="http://schemas.microsoft.com/office/drawing/2014/main" xmlns="" val="2704550479"/>
                    </a:ext>
                  </a:extLst>
                </a:gridCol>
                <a:gridCol w="1804086">
                  <a:extLst>
                    <a:ext uri="{9D8B030D-6E8A-4147-A177-3AD203B41FA5}">
                      <a16:colId xmlns:a16="http://schemas.microsoft.com/office/drawing/2014/main" xmlns="" val="3142487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Длительность процесса</a:t>
                      </a:r>
                    </a:p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40-50 мин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Длительность процесса</a:t>
                      </a:r>
                    </a:p>
                    <a:p>
                      <a:pPr algn="ctr"/>
                      <a:r>
                        <a:rPr lang="ru-RU" sz="1200" dirty="0" smtClean="0"/>
                        <a:t>10-20 мин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82886668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25781199"/>
              </p:ext>
            </p:extLst>
          </p:nvPr>
        </p:nvGraphicFramePr>
        <p:xfrm>
          <a:off x="1283146" y="5296042"/>
          <a:ext cx="6213285" cy="655660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541534">
                  <a:extLst>
                    <a:ext uri="{9D8B030D-6E8A-4147-A177-3AD203B41FA5}">
                      <a16:colId xmlns:a16="http://schemas.microsoft.com/office/drawing/2014/main" xmlns="" val="2054614510"/>
                    </a:ext>
                  </a:extLst>
                </a:gridCol>
                <a:gridCol w="1964724">
                  <a:extLst>
                    <a:ext uri="{9D8B030D-6E8A-4147-A177-3AD203B41FA5}">
                      <a16:colId xmlns:a16="http://schemas.microsoft.com/office/drawing/2014/main" xmlns="" val="888117351"/>
                    </a:ext>
                  </a:extLst>
                </a:gridCol>
                <a:gridCol w="1902941">
                  <a:extLst>
                    <a:ext uri="{9D8B030D-6E8A-4147-A177-3AD203B41FA5}">
                      <a16:colId xmlns:a16="http://schemas.microsoft.com/office/drawing/2014/main" xmlns="" val="2704550479"/>
                    </a:ext>
                  </a:extLst>
                </a:gridCol>
                <a:gridCol w="1804086">
                  <a:extLst>
                    <a:ext uri="{9D8B030D-6E8A-4147-A177-3AD203B41FA5}">
                      <a16:colId xmlns:a16="http://schemas.microsoft.com/office/drawing/2014/main" xmlns="" val="314248704"/>
                    </a:ext>
                  </a:extLst>
                </a:gridCol>
              </a:tblGrid>
              <a:tr h="65566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R w="12700" cmpd="sng">
                      <a:noFill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82886668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359243" y="5240342"/>
            <a:ext cx="5698804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 smtClean="0">
                <a:solidFill>
                  <a:srgbClr val="0070C0"/>
                </a:solidFill>
              </a:rPr>
              <a:t>Оптимизация организации режимного момента – одевания детей </a:t>
            </a:r>
          </a:p>
          <a:p>
            <a:pPr algn="ctr"/>
            <a:r>
              <a:rPr lang="ru-RU" sz="1400" dirty="0" smtClean="0">
                <a:solidFill>
                  <a:srgbClr val="0070C0"/>
                </a:solidFill>
              </a:rPr>
              <a:t>на прогулку с помощью алгоритмов</a:t>
            </a:r>
          </a:p>
          <a:p>
            <a:pPr algn="ctr"/>
            <a:r>
              <a:rPr lang="ru-RU" sz="1400" dirty="0">
                <a:solidFill>
                  <a:srgbClr val="0070C0"/>
                </a:solidFill>
              </a:rPr>
              <a:t>с</a:t>
            </a:r>
            <a:r>
              <a:rPr lang="ru-RU" sz="1400" dirty="0" smtClean="0">
                <a:solidFill>
                  <a:srgbClr val="0070C0"/>
                </a:solidFill>
              </a:rPr>
              <a:t> 40 - 50 мин до </a:t>
            </a:r>
            <a:r>
              <a:rPr lang="ru-RU" sz="1400" dirty="0" smtClean="0">
                <a:solidFill>
                  <a:srgbClr val="0070C0"/>
                </a:solidFill>
              </a:rPr>
              <a:t>10 - 20 </a:t>
            </a:r>
            <a:r>
              <a:rPr lang="ru-RU" sz="1400" dirty="0" smtClean="0">
                <a:solidFill>
                  <a:srgbClr val="0070C0"/>
                </a:solidFill>
              </a:rPr>
              <a:t>мин. (в зависимости от сезона)</a:t>
            </a:r>
            <a:endParaRPr lang="ru-RU" sz="14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31330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McK 1. On-page tracker"/>
          <p:cNvSpPr>
            <a:spLocks noChangeArrowheads="1"/>
          </p:cNvSpPr>
          <p:nvPr/>
        </p:nvSpPr>
        <p:spPr bwMode="auto">
          <a:xfrm>
            <a:off x="4304536" y="26988"/>
            <a:ext cx="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just"/>
            <a:endParaRPr lang="ru-RU" sz="1400" dirty="0">
              <a:solidFill>
                <a:srgbClr val="808080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59491" y="809539"/>
            <a:ext cx="3750625" cy="233665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09393" y="3735214"/>
            <a:ext cx="3700724" cy="2544247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806779" y="809540"/>
            <a:ext cx="3482390" cy="2329076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806779" y="3735214"/>
            <a:ext cx="3737993" cy="2544247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892118" y="220515"/>
            <a:ext cx="54048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3477BA"/>
                </a:solidFill>
              </a:rPr>
              <a:t>Алгоритмы одевания детей (по сезонам)</a:t>
            </a:r>
            <a:endParaRPr lang="ru-RU" sz="2000" b="1" dirty="0">
              <a:solidFill>
                <a:srgbClr val="3477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60516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McK 1. On-page tracker"/>
          <p:cNvSpPr>
            <a:spLocks noChangeArrowheads="1"/>
          </p:cNvSpPr>
          <p:nvPr/>
        </p:nvSpPr>
        <p:spPr bwMode="auto">
          <a:xfrm>
            <a:off x="4304536" y="26988"/>
            <a:ext cx="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just"/>
            <a:endParaRPr lang="ru-RU" sz="1400" dirty="0">
              <a:solidFill>
                <a:srgbClr val="80808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892118" y="220515"/>
            <a:ext cx="551061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3477BA"/>
                </a:solidFill>
              </a:rPr>
              <a:t>Блок – схемы </a:t>
            </a:r>
          </a:p>
          <a:p>
            <a:pPr algn="ctr"/>
            <a:r>
              <a:rPr lang="ru-RU" sz="2000" b="1" dirty="0">
                <a:solidFill>
                  <a:srgbClr val="3477BA"/>
                </a:solidFill>
              </a:rPr>
              <a:t>р</a:t>
            </a:r>
            <a:r>
              <a:rPr lang="ru-RU" sz="2000" b="1" dirty="0" smtClean="0">
                <a:solidFill>
                  <a:srgbClr val="3477BA"/>
                </a:solidFill>
              </a:rPr>
              <a:t>азмещения детских вещей в шкафчике.  </a:t>
            </a:r>
            <a:endParaRPr lang="ru-RU" sz="2000" b="1" dirty="0">
              <a:solidFill>
                <a:srgbClr val="3477BA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4933" t="10223" r="26934" b="3292"/>
          <a:stretch/>
        </p:blipFill>
        <p:spPr>
          <a:xfrm>
            <a:off x="877329" y="1121928"/>
            <a:ext cx="2347784" cy="494270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82223" y="1544595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rgbClr val="3477BA"/>
                </a:solidFill>
              </a:rPr>
              <a:t>1</a:t>
            </a:r>
            <a:endParaRPr lang="ru-RU" sz="2800" b="1" dirty="0">
              <a:solidFill>
                <a:srgbClr val="3477BA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82223" y="2866768"/>
            <a:ext cx="5476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3477BA"/>
                </a:solidFill>
              </a:rPr>
              <a:t>2</a:t>
            </a:r>
            <a:endParaRPr lang="ru-RU" sz="2800" b="1" dirty="0">
              <a:solidFill>
                <a:srgbClr val="3477BA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19293" y="4769708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rgbClr val="3477BA"/>
                </a:solidFill>
              </a:rPr>
              <a:t>3</a:t>
            </a:r>
            <a:endParaRPr lang="ru-RU" sz="2800" b="1" dirty="0">
              <a:solidFill>
                <a:srgbClr val="3477BA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64425" y="1121928"/>
            <a:ext cx="24507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3477BA"/>
                </a:solidFill>
              </a:rPr>
              <a:t>Верхняя полка</a:t>
            </a:r>
            <a:endParaRPr lang="ru-RU" sz="2400" b="1" dirty="0">
              <a:solidFill>
                <a:srgbClr val="3477BA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164425" y="2620367"/>
            <a:ext cx="314759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3477BA"/>
                </a:solidFill>
              </a:rPr>
              <a:t>Центральная часть</a:t>
            </a:r>
          </a:p>
          <a:p>
            <a:r>
              <a:rPr lang="ru-RU" sz="2400" b="1" dirty="0" smtClean="0">
                <a:solidFill>
                  <a:srgbClr val="3477BA"/>
                </a:solidFill>
              </a:rPr>
              <a:t>шкафчика</a:t>
            </a:r>
            <a:endParaRPr lang="ru-RU" sz="2400" b="1" dirty="0">
              <a:solidFill>
                <a:srgbClr val="3477BA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223128" y="4582756"/>
            <a:ext cx="23314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3477BA"/>
                </a:solidFill>
              </a:rPr>
              <a:t>Нижняя полка</a:t>
            </a:r>
            <a:endParaRPr lang="ru-RU" sz="2400" b="1" dirty="0">
              <a:solidFill>
                <a:srgbClr val="3477BA"/>
              </a:solidFill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9638"/>
          <a:stretch/>
        </p:blipFill>
        <p:spPr>
          <a:xfrm>
            <a:off x="6969211" y="2993276"/>
            <a:ext cx="1864838" cy="3533780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9018" b="16541"/>
          <a:stretch/>
        </p:blipFill>
        <p:spPr>
          <a:xfrm>
            <a:off x="6969210" y="1142353"/>
            <a:ext cx="1864839" cy="1850923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6660292" y="1060373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rgbClr val="3477BA"/>
                </a:solidFill>
              </a:rPr>
              <a:t>1</a:t>
            </a:r>
            <a:endParaRPr lang="ru-RU" sz="2800" b="1" dirty="0">
              <a:solidFill>
                <a:srgbClr val="3477BA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620936" y="2928144"/>
            <a:ext cx="5476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3477BA"/>
                </a:solidFill>
              </a:rPr>
              <a:t>2</a:t>
            </a:r>
            <a:endParaRPr lang="ru-RU" sz="2800" b="1" dirty="0">
              <a:solidFill>
                <a:srgbClr val="3477BA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602553" y="5412377"/>
            <a:ext cx="38504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rgbClr val="3477BA"/>
                </a:solidFill>
              </a:rPr>
              <a:t>3</a:t>
            </a:r>
            <a:endParaRPr lang="ru-RU" sz="2800" b="1" dirty="0">
              <a:solidFill>
                <a:srgbClr val="3477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55656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McK 1. On-page tracker"/>
          <p:cNvSpPr>
            <a:spLocks noChangeArrowheads="1"/>
          </p:cNvSpPr>
          <p:nvPr/>
        </p:nvSpPr>
        <p:spPr bwMode="auto">
          <a:xfrm>
            <a:off x="4304536" y="26988"/>
            <a:ext cx="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just"/>
            <a:endParaRPr lang="ru-RU" sz="1400" dirty="0">
              <a:solidFill>
                <a:srgbClr val="80808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892118" y="220515"/>
            <a:ext cx="477746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3477BA"/>
                </a:solidFill>
              </a:rPr>
              <a:t>Рекомендации для родителей</a:t>
            </a:r>
          </a:p>
          <a:p>
            <a:r>
              <a:rPr lang="ru-RU" sz="2400" b="1" dirty="0" smtClean="0">
                <a:solidFill>
                  <a:srgbClr val="3477BA"/>
                </a:solidFill>
              </a:rPr>
              <a:t> </a:t>
            </a:r>
            <a:endParaRPr lang="ru-RU" sz="2400" b="1" dirty="0">
              <a:solidFill>
                <a:srgbClr val="3477BA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89076" y="804377"/>
            <a:ext cx="3988420" cy="5669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21854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McK 1. On-page tracker"/>
          <p:cNvSpPr>
            <a:spLocks noChangeArrowheads="1"/>
          </p:cNvSpPr>
          <p:nvPr/>
        </p:nvSpPr>
        <p:spPr bwMode="auto">
          <a:xfrm>
            <a:off x="4304536" y="26988"/>
            <a:ext cx="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just"/>
            <a:endParaRPr lang="ru-RU" sz="1400" dirty="0">
              <a:solidFill>
                <a:srgbClr val="80808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248589" y="97827"/>
            <a:ext cx="411202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3477BA"/>
                </a:solidFill>
              </a:rPr>
              <a:t>Достигнутые результаты.</a:t>
            </a:r>
          </a:p>
          <a:p>
            <a:r>
              <a:rPr lang="ru-RU" sz="2400" b="1" dirty="0" smtClean="0">
                <a:solidFill>
                  <a:srgbClr val="3477BA"/>
                </a:solidFill>
              </a:rPr>
              <a:t> </a:t>
            </a:r>
            <a:endParaRPr lang="ru-RU" sz="2400" b="1" dirty="0">
              <a:solidFill>
                <a:srgbClr val="3477BA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966845" y="599553"/>
            <a:ext cx="99899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u="sng" dirty="0" smtClean="0">
                <a:solidFill>
                  <a:srgbClr val="3477BA"/>
                </a:solidFill>
              </a:rPr>
              <a:t>БЫЛО</a:t>
            </a:r>
            <a:endParaRPr lang="ru-RU" sz="2000" b="1" u="sng" dirty="0">
              <a:solidFill>
                <a:srgbClr val="3477BA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178378" y="612520"/>
            <a:ext cx="107253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u="sng" dirty="0" smtClean="0">
                <a:solidFill>
                  <a:srgbClr val="3477BA"/>
                </a:solidFill>
              </a:rPr>
              <a:t>СТАЛО</a:t>
            </a:r>
            <a:endParaRPr lang="ru-RU" sz="2000" b="1" u="sng" dirty="0">
              <a:solidFill>
                <a:srgbClr val="3477BA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1750" y="1036030"/>
            <a:ext cx="1914082" cy="255210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326469" y="1036029"/>
            <a:ext cx="1914083" cy="255211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7059" b="4955"/>
          <a:stretch/>
        </p:blipFill>
        <p:spPr>
          <a:xfrm>
            <a:off x="251750" y="3711708"/>
            <a:ext cx="1941142" cy="281734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984" t="12318"/>
          <a:stretch/>
        </p:blipFill>
        <p:spPr>
          <a:xfrm>
            <a:off x="2333544" y="3695344"/>
            <a:ext cx="1971057" cy="280966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3867" b="4955"/>
          <a:stretch/>
        </p:blipFill>
        <p:spPr>
          <a:xfrm>
            <a:off x="5088220" y="1036030"/>
            <a:ext cx="1707402" cy="2842054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12117"/>
          <a:stretch/>
        </p:blipFill>
        <p:spPr>
          <a:xfrm>
            <a:off x="7001271" y="1036030"/>
            <a:ext cx="1873251" cy="2842054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88195" y="4004190"/>
            <a:ext cx="1899401" cy="253253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001488" y="4004190"/>
            <a:ext cx="1880866" cy="2507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22929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237117" y="748482"/>
            <a:ext cx="6681176" cy="357020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800" b="1" i="1" dirty="0" smtClean="0">
                <a:solidFill>
                  <a:srgbClr val="3477B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 июня 2024 года </a:t>
            </a:r>
            <a:r>
              <a:rPr lang="ru-RU" sz="3600" dirty="0" smtClean="0">
                <a:solidFill>
                  <a:srgbClr val="3477BA"/>
                </a:solidFill>
              </a:rPr>
              <a:t>проект</a:t>
            </a:r>
            <a:r>
              <a:rPr lang="ru-RU" sz="2800" dirty="0" smtClean="0">
                <a:solidFill>
                  <a:srgbClr val="3477BA"/>
                </a:solidFill>
              </a:rPr>
              <a:t> </a:t>
            </a:r>
            <a:r>
              <a:rPr lang="ru-RU" sz="2800" dirty="0">
                <a:solidFill>
                  <a:srgbClr val="3477BA"/>
                </a:solidFill>
              </a:rPr>
              <a:t>завершится</a:t>
            </a:r>
            <a:r>
              <a:rPr lang="ru-RU" sz="2800" dirty="0" smtClean="0">
                <a:solidFill>
                  <a:srgbClr val="3477BA"/>
                </a:solidFill>
              </a:rPr>
              <a:t>, внедрённые   улучшения</a:t>
            </a:r>
            <a:r>
              <a:rPr lang="ru-RU" sz="2800" dirty="0">
                <a:solidFill>
                  <a:srgbClr val="3477BA"/>
                </a:solidFill>
              </a:rPr>
              <a:t> </a:t>
            </a:r>
            <a:r>
              <a:rPr lang="ru-RU" sz="2800" dirty="0" smtClean="0">
                <a:solidFill>
                  <a:srgbClr val="3477BA"/>
                </a:solidFill>
              </a:rPr>
              <a:t> </a:t>
            </a:r>
            <a:r>
              <a:rPr lang="ru-RU" sz="2800" dirty="0">
                <a:solidFill>
                  <a:srgbClr val="3477BA"/>
                </a:solidFill>
              </a:rPr>
              <a:t>на этапах его </a:t>
            </a:r>
            <a:r>
              <a:rPr lang="ru-RU" sz="2800" dirty="0" smtClean="0">
                <a:solidFill>
                  <a:srgbClr val="3477BA"/>
                </a:solidFill>
              </a:rPr>
              <a:t>реализации, останутся</a:t>
            </a:r>
            <a:r>
              <a:rPr lang="ru-RU" sz="2800" dirty="0">
                <a:solidFill>
                  <a:srgbClr val="3477BA"/>
                </a:solidFill>
              </a:rPr>
              <a:t>. </a:t>
            </a:r>
            <a:r>
              <a:rPr lang="ru-RU" sz="2800" dirty="0" smtClean="0">
                <a:solidFill>
                  <a:srgbClr val="3477BA"/>
                </a:solidFill>
              </a:rPr>
              <a:t/>
            </a:r>
            <a:br>
              <a:rPr lang="ru-RU" sz="2800" dirty="0" smtClean="0">
                <a:solidFill>
                  <a:srgbClr val="3477BA"/>
                </a:solidFill>
              </a:rPr>
            </a:br>
            <a:r>
              <a:rPr lang="ru-RU" sz="2800" dirty="0" smtClean="0">
                <a:solidFill>
                  <a:srgbClr val="3477BA"/>
                </a:solidFill>
              </a:rPr>
              <a:t>Значит </a:t>
            </a:r>
            <a:r>
              <a:rPr lang="ru-RU" sz="2800" dirty="0">
                <a:solidFill>
                  <a:srgbClr val="3477BA"/>
                </a:solidFill>
              </a:rPr>
              <a:t>мы все трудились не напрасно</a:t>
            </a:r>
            <a:r>
              <a:rPr lang="ru-RU" sz="2800" dirty="0" smtClean="0">
                <a:solidFill>
                  <a:srgbClr val="3477BA"/>
                </a:solidFill>
              </a:rPr>
              <a:t>! </a:t>
            </a:r>
            <a:br>
              <a:rPr lang="ru-RU" sz="2800" dirty="0" smtClean="0">
                <a:solidFill>
                  <a:srgbClr val="3477BA"/>
                </a:solidFill>
              </a:rPr>
            </a:br>
            <a:r>
              <a:rPr lang="ru-RU" sz="2800" dirty="0" smtClean="0">
                <a:solidFill>
                  <a:srgbClr val="3477BA"/>
                </a:solidFill>
              </a:rPr>
              <a:t>Спасибо за внимание!</a:t>
            </a:r>
            <a:r>
              <a:rPr lang="ru-RU" sz="2800" b="1" i="1" dirty="0">
                <a:solidFill>
                  <a:srgbClr val="3477B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800" b="1" i="1" dirty="0">
                <a:solidFill>
                  <a:srgbClr val="3477BA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800" b="1" i="1" dirty="0">
              <a:solidFill>
                <a:srgbClr val="3477B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McK 1. On-page tracker"/>
          <p:cNvSpPr>
            <a:spLocks noChangeArrowheads="1"/>
          </p:cNvSpPr>
          <p:nvPr/>
        </p:nvSpPr>
        <p:spPr bwMode="auto">
          <a:xfrm>
            <a:off x="4304536" y="26988"/>
            <a:ext cx="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just"/>
            <a:endParaRPr lang="ru-RU" sz="14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81588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8855" y="358409"/>
            <a:ext cx="7726680" cy="276999"/>
          </a:xfrm>
        </p:spPr>
        <p:txBody>
          <a:bodyPr/>
          <a:lstStyle/>
          <a:p>
            <a:pPr algn="ctr"/>
            <a:r>
              <a:rPr lang="ru-RU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спорт проекта </a:t>
            </a:r>
            <a:endParaRPr lang="en-US" sz="1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6200000">
            <a:off x="2040204" y="-232995"/>
            <a:ext cx="5298360" cy="7512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44751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931" y="107557"/>
            <a:ext cx="7726680" cy="492443"/>
          </a:xfrm>
        </p:spPr>
        <p:txBody>
          <a:bodyPr/>
          <a:lstStyle/>
          <a:p>
            <a:pPr algn="ctr"/>
            <a:r>
              <a:rPr lang="ru-RU" sz="3200" b="1" u="sng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анда проекта </a:t>
            </a:r>
            <a:endParaRPr lang="en-US" sz="3200" b="1" u="sng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78094" y="600000"/>
            <a:ext cx="878334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14350" indent="-514350">
              <a:buAutoNum type="arabicPeriod"/>
            </a:pPr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иновьева </a:t>
            </a:r>
            <a:r>
              <a:rPr lang="ru-RU" sz="3200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Ю. К</a:t>
            </a:r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-и. о. заведующего МАДОУ д/с № 2 «Орлёнок»</a:t>
            </a:r>
          </a:p>
          <a:p>
            <a:pPr marL="514350" indent="-514350">
              <a:buAutoNum type="arabicPeriod"/>
            </a:pPr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абирова </a:t>
            </a:r>
            <a:r>
              <a:rPr lang="ru-RU" sz="3200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.В</a:t>
            </a:r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- старший воспитатель</a:t>
            </a:r>
          </a:p>
          <a:p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. Рослякова </a:t>
            </a:r>
            <a:r>
              <a:rPr lang="ru-RU" sz="3200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.А</a:t>
            </a:r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- педагог - психолог</a:t>
            </a:r>
          </a:p>
          <a:p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. Рябчикова </a:t>
            </a:r>
            <a:r>
              <a:rPr lang="ru-RU" sz="3200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.В</a:t>
            </a:r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– инструктор по физической культуре</a:t>
            </a:r>
          </a:p>
          <a:p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5.  </a:t>
            </a:r>
            <a:r>
              <a:rPr lang="ru-RU" sz="3200" dirty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лещук </a:t>
            </a:r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.Е. – воспитатель 2 мл. группы.</a:t>
            </a:r>
            <a:endParaRPr lang="ru-RU" sz="32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6. Шилина К.А. – воспитатель старшей группы.</a:t>
            </a:r>
          </a:p>
          <a:p>
            <a:r>
              <a:rPr lang="ru-RU" sz="3200" dirty="0" smtClean="0">
                <a:solidFill>
                  <a:srgbClr val="0070C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7. Леонтьева Л.М. – воспитатель средней группы</a:t>
            </a:r>
          </a:p>
        </p:txBody>
      </p:sp>
    </p:spTree>
    <p:extLst>
      <p:ext uri="{BB962C8B-B14F-4D97-AF65-F5344CB8AC3E}">
        <p14:creationId xmlns:p14="http://schemas.microsoft.com/office/powerpoint/2010/main" xmlns="" val="2787259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Прямоугольник 185"/>
          <p:cNvSpPr/>
          <p:nvPr/>
        </p:nvSpPr>
        <p:spPr>
          <a:xfrm>
            <a:off x="5680850" y="-61201"/>
            <a:ext cx="3271583" cy="1200270"/>
          </a:xfrm>
          <a:prstGeom prst="rect">
            <a:avLst/>
          </a:prstGeom>
        </p:spPr>
        <p:txBody>
          <a:bodyPr wrap="square" lIns="91381" tIns="45691" rIns="91381" bIns="45691">
            <a:spAutoFit/>
          </a:bodyPr>
          <a:lstStyle/>
          <a:p>
            <a:pPr algn="ctr"/>
            <a:r>
              <a:rPr lang="ru-RU" sz="2400" b="1" i="1" dirty="0">
                <a:solidFill>
                  <a:srgbClr val="0070C0"/>
                </a:solidFill>
              </a:rPr>
              <a:t>Карта текущего </a:t>
            </a:r>
            <a:r>
              <a:rPr lang="ru-RU" sz="2400" b="1" i="1" dirty="0" smtClean="0">
                <a:solidFill>
                  <a:srgbClr val="0070C0"/>
                </a:solidFill>
              </a:rPr>
              <a:t>состояния процесса </a:t>
            </a:r>
            <a:endParaRPr lang="ru-RU" sz="2400" b="1" i="1" dirty="0">
              <a:solidFill>
                <a:srgbClr val="0070C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3326" y="-4687"/>
            <a:ext cx="5409263" cy="117911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lIns="91381" tIns="45691" rIns="91381" bIns="45691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еречень проблем: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. </a:t>
            </a:r>
            <a:r>
              <a:rPr lang="ru-RU" sz="11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  Отсутствие в детском саду детей, по каким-либо причинам.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. </a:t>
            </a:r>
            <a:r>
              <a:rPr lang="ru-RU" sz="11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  </a:t>
            </a:r>
            <a:r>
              <a:rPr lang="ru-RU" sz="11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теря </a:t>
            </a:r>
            <a:r>
              <a:rPr lang="ru-RU" sz="11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ремени при переодевании.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ru-RU" sz="11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   </a:t>
            </a:r>
            <a:r>
              <a:rPr lang="ru-RU" sz="11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изкий </a:t>
            </a:r>
            <a:r>
              <a:rPr lang="ru-RU" sz="11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ровень самостоятельности детей.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ru-RU" sz="11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   </a:t>
            </a:r>
            <a:r>
              <a:rPr lang="ru-RU" sz="11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тсутствие </a:t>
            </a:r>
            <a:r>
              <a:rPr lang="ru-RU" sz="11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диной системы.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5.    </a:t>
            </a:r>
            <a:r>
              <a:rPr lang="ru-RU" sz="11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Беспорядок </a:t>
            </a:r>
            <a:r>
              <a:rPr lang="ru-RU" sz="11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нутри детских шкафчиков.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458881" y="6783657"/>
            <a:ext cx="2087418" cy="56341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9" name="Rectangle 41"/>
          <p:cNvSpPr txBox="1">
            <a:spLocks/>
          </p:cNvSpPr>
          <p:nvPr/>
        </p:nvSpPr>
        <p:spPr>
          <a:xfrm>
            <a:off x="8453209" y="4090337"/>
            <a:ext cx="373358" cy="119445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vert270" lIns="34064" tIns="34064" rIns="34064" bIns="34064" anchor="ctr" anchorCtr="1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1200" b="1" i="1" dirty="0">
                <a:solidFill>
                  <a:schemeClr val="bg1"/>
                </a:solidFill>
              </a:rPr>
              <a:t>Выход процесса</a:t>
            </a:r>
          </a:p>
        </p:txBody>
      </p:sp>
      <p:sp>
        <p:nvSpPr>
          <p:cNvPr id="10" name="Rectangle 216"/>
          <p:cNvSpPr/>
          <p:nvPr/>
        </p:nvSpPr>
        <p:spPr>
          <a:xfrm>
            <a:off x="688603" y="1750717"/>
            <a:ext cx="1286523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Вышли в приемную. Подошли к шкафчику, открыли дверцу.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1" name="Rectangle 216"/>
          <p:cNvSpPr/>
          <p:nvPr/>
        </p:nvSpPr>
        <p:spPr>
          <a:xfrm>
            <a:off x="2416392" y="1737367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ru-RU" sz="1200" dirty="0" smtClean="0">
              <a:solidFill>
                <a:schemeClr val="tx1"/>
              </a:solidFill>
            </a:endParaRPr>
          </a:p>
          <a:p>
            <a:pPr algn="ctr"/>
            <a:endParaRPr lang="ru-RU" sz="1200" dirty="0" smtClean="0">
              <a:solidFill>
                <a:schemeClr val="tx1"/>
              </a:solidFill>
            </a:endParaRP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Устное объяснение воспитателя о порядке раздевания, размещении одежды в шкафчиках.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8" name="Rectangle 41"/>
          <p:cNvSpPr txBox="1">
            <a:spLocks/>
          </p:cNvSpPr>
          <p:nvPr/>
        </p:nvSpPr>
        <p:spPr>
          <a:xfrm>
            <a:off x="-19184" y="1771552"/>
            <a:ext cx="373358" cy="119445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vert270" lIns="34064" tIns="34064" rIns="34064" bIns="34064" anchor="ctr" anchorCtr="1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1200" b="1" i="1" dirty="0">
                <a:solidFill>
                  <a:schemeClr val="bg1"/>
                </a:solidFill>
              </a:rPr>
              <a:t>Вход процесса</a:t>
            </a:r>
          </a:p>
        </p:txBody>
      </p:sp>
      <p:sp>
        <p:nvSpPr>
          <p:cNvPr id="12" name="Rectangle 216"/>
          <p:cNvSpPr/>
          <p:nvPr/>
        </p:nvSpPr>
        <p:spPr>
          <a:xfrm>
            <a:off x="4180563" y="1737367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Воспитанники раздеваются и убирают вещи в шкафчик.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3" name="Rectangle 216"/>
          <p:cNvSpPr/>
          <p:nvPr/>
        </p:nvSpPr>
        <p:spPr>
          <a:xfrm>
            <a:off x="5929745" y="1712491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Воспитатель устно объясняет порядок одевания вещей на прогулку.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4" name="Rectangle 216"/>
          <p:cNvSpPr/>
          <p:nvPr/>
        </p:nvSpPr>
        <p:spPr>
          <a:xfrm>
            <a:off x="7625822" y="1726753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Воспитанники определяют порядок одевания.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6" name="Rectangle 216"/>
          <p:cNvSpPr/>
          <p:nvPr/>
        </p:nvSpPr>
        <p:spPr>
          <a:xfrm>
            <a:off x="680840" y="4204425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Воспитанники одеваются на прогулку</a:t>
            </a:r>
            <a:r>
              <a:rPr lang="ru-RU" dirty="0" smtClean="0">
                <a:solidFill>
                  <a:schemeClr val="tx1"/>
                </a:solidFill>
              </a:rPr>
              <a:t>.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8" name="Rectangle 41"/>
          <p:cNvSpPr txBox="1">
            <a:spLocks/>
          </p:cNvSpPr>
          <p:nvPr/>
        </p:nvSpPr>
        <p:spPr>
          <a:xfrm>
            <a:off x="680840" y="1382853"/>
            <a:ext cx="1318590" cy="32849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050" b="1" i="1" dirty="0" smtClean="0">
                <a:solidFill>
                  <a:schemeClr val="bg1"/>
                </a:solidFill>
              </a:rPr>
              <a:t>Шаг 1</a:t>
            </a:r>
            <a:endParaRPr lang="ru-RU" sz="1050" b="1" i="1" dirty="0">
              <a:solidFill>
                <a:schemeClr val="bg1"/>
              </a:solidFill>
            </a:endParaRPr>
          </a:p>
        </p:txBody>
      </p:sp>
      <p:sp>
        <p:nvSpPr>
          <p:cNvPr id="29" name="Rectangle 41"/>
          <p:cNvSpPr txBox="1">
            <a:spLocks/>
          </p:cNvSpPr>
          <p:nvPr/>
        </p:nvSpPr>
        <p:spPr>
          <a:xfrm>
            <a:off x="673653" y="3850984"/>
            <a:ext cx="1318590" cy="32849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200" b="1" i="1" dirty="0" smtClean="0">
                <a:solidFill>
                  <a:schemeClr val="bg1"/>
                </a:solidFill>
              </a:rPr>
              <a:t>Шаг 6</a:t>
            </a:r>
            <a:endParaRPr lang="ru-RU" sz="1200" b="1" i="1" dirty="0">
              <a:solidFill>
                <a:schemeClr val="bg1"/>
              </a:solidFill>
            </a:endParaRPr>
          </a:p>
        </p:txBody>
      </p:sp>
      <p:sp>
        <p:nvSpPr>
          <p:cNvPr id="30" name="Rectangle 41"/>
          <p:cNvSpPr txBox="1">
            <a:spLocks/>
          </p:cNvSpPr>
          <p:nvPr/>
        </p:nvSpPr>
        <p:spPr>
          <a:xfrm>
            <a:off x="7603763" y="1382853"/>
            <a:ext cx="1318590" cy="32849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200" b="1" i="1" dirty="0" smtClean="0">
                <a:solidFill>
                  <a:schemeClr val="bg1"/>
                </a:solidFill>
              </a:rPr>
              <a:t>Шаг 5 </a:t>
            </a:r>
            <a:endParaRPr lang="ru-RU" sz="1200" b="1" i="1" dirty="0">
              <a:solidFill>
                <a:schemeClr val="bg1"/>
              </a:solidFill>
            </a:endParaRPr>
          </a:p>
        </p:txBody>
      </p:sp>
      <p:sp>
        <p:nvSpPr>
          <p:cNvPr id="31" name="Rectangle 41"/>
          <p:cNvSpPr txBox="1">
            <a:spLocks/>
          </p:cNvSpPr>
          <p:nvPr/>
        </p:nvSpPr>
        <p:spPr>
          <a:xfrm>
            <a:off x="5929745" y="1364209"/>
            <a:ext cx="1318590" cy="32849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100" b="1" i="1" dirty="0" smtClean="0">
                <a:solidFill>
                  <a:schemeClr val="bg1"/>
                </a:solidFill>
              </a:rPr>
              <a:t>Шаг 4</a:t>
            </a:r>
            <a:endParaRPr lang="ru-RU" sz="1100" b="1" i="1" dirty="0">
              <a:solidFill>
                <a:schemeClr val="bg1"/>
              </a:solidFill>
            </a:endParaRPr>
          </a:p>
        </p:txBody>
      </p:sp>
      <p:sp>
        <p:nvSpPr>
          <p:cNvPr id="32" name="Rectangle 41"/>
          <p:cNvSpPr txBox="1">
            <a:spLocks/>
          </p:cNvSpPr>
          <p:nvPr/>
        </p:nvSpPr>
        <p:spPr>
          <a:xfrm>
            <a:off x="4169093" y="1379612"/>
            <a:ext cx="1318590" cy="32849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200" b="1" i="1" dirty="0" smtClean="0">
                <a:solidFill>
                  <a:schemeClr val="bg1"/>
                </a:solidFill>
              </a:rPr>
              <a:t>Шаг 3</a:t>
            </a:r>
            <a:endParaRPr lang="ru-RU" sz="1200" b="1" i="1" dirty="0">
              <a:solidFill>
                <a:schemeClr val="bg1"/>
              </a:solidFill>
            </a:endParaRPr>
          </a:p>
        </p:txBody>
      </p:sp>
      <p:sp>
        <p:nvSpPr>
          <p:cNvPr id="38" name="Right Arrow 225"/>
          <p:cNvSpPr>
            <a:spLocks/>
          </p:cNvSpPr>
          <p:nvPr/>
        </p:nvSpPr>
        <p:spPr>
          <a:xfrm>
            <a:off x="7248341" y="2222895"/>
            <a:ext cx="371603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9" name="Right Arrow 225"/>
          <p:cNvSpPr>
            <a:spLocks/>
          </p:cNvSpPr>
          <p:nvPr/>
        </p:nvSpPr>
        <p:spPr>
          <a:xfrm>
            <a:off x="2016782" y="2222895"/>
            <a:ext cx="399616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0" name="Right Arrow 225"/>
          <p:cNvSpPr>
            <a:spLocks/>
          </p:cNvSpPr>
          <p:nvPr/>
        </p:nvSpPr>
        <p:spPr>
          <a:xfrm>
            <a:off x="5486968" y="2222895"/>
            <a:ext cx="442783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1" name="Right Arrow 225"/>
          <p:cNvSpPr>
            <a:spLocks/>
          </p:cNvSpPr>
          <p:nvPr/>
        </p:nvSpPr>
        <p:spPr>
          <a:xfrm>
            <a:off x="3734988" y="2222895"/>
            <a:ext cx="434111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2" name="10-конечная звезда 41"/>
          <p:cNvSpPr/>
          <p:nvPr>
            <p:custDataLst>
              <p:tags r:id="rId1"/>
            </p:custDataLst>
          </p:nvPr>
        </p:nvSpPr>
        <p:spPr>
          <a:xfrm>
            <a:off x="749103" y="3345756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1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965198" y="1809901"/>
            <a:ext cx="819032" cy="261552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b="1" dirty="0" smtClean="0"/>
              <a:t>2-3  </a:t>
            </a:r>
            <a:r>
              <a:rPr lang="ru-RU" sz="1100" b="1" dirty="0"/>
              <a:t>мин</a:t>
            </a:r>
            <a:r>
              <a:rPr lang="ru-RU" sz="1100" dirty="0"/>
              <a:t>.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722517" y="1771552"/>
            <a:ext cx="851862" cy="261552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b="1" dirty="0" smtClean="0"/>
              <a:t>2- 3 </a:t>
            </a:r>
            <a:r>
              <a:rPr lang="ru-RU" sz="1100" b="1" dirty="0"/>
              <a:t>мин</a:t>
            </a:r>
            <a:r>
              <a:rPr lang="ru-RU" sz="1100" dirty="0"/>
              <a:t>.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514300" y="1809901"/>
            <a:ext cx="767693" cy="261552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b="1" dirty="0" smtClean="0"/>
              <a:t>5-6 </a:t>
            </a:r>
            <a:r>
              <a:rPr lang="ru-RU" sz="1100" b="1" dirty="0"/>
              <a:t>мин</a:t>
            </a:r>
            <a:r>
              <a:rPr lang="ru-RU" sz="1100" dirty="0"/>
              <a:t>.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259850" y="1794498"/>
            <a:ext cx="935647" cy="261552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b="1" dirty="0" smtClean="0"/>
              <a:t>2-3  </a:t>
            </a:r>
            <a:r>
              <a:rPr lang="ru-RU" sz="1100" b="1" dirty="0"/>
              <a:t>мин</a:t>
            </a:r>
            <a:r>
              <a:rPr lang="ru-RU" sz="1100" dirty="0"/>
              <a:t>.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984066" y="1801541"/>
            <a:ext cx="938287" cy="261552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b="1" dirty="0" smtClean="0"/>
              <a:t>2-3  </a:t>
            </a:r>
            <a:r>
              <a:rPr lang="ru-RU" sz="1100" b="1" dirty="0"/>
              <a:t>мин.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949683" y="4314755"/>
            <a:ext cx="948664" cy="261552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b="1" dirty="0" smtClean="0"/>
              <a:t>10-15 </a:t>
            </a:r>
            <a:r>
              <a:rPr lang="ru-RU" sz="1100" b="1" dirty="0"/>
              <a:t>мин.</a:t>
            </a:r>
          </a:p>
        </p:txBody>
      </p:sp>
      <p:sp>
        <p:nvSpPr>
          <p:cNvPr id="49" name="Right Arrow 225"/>
          <p:cNvSpPr>
            <a:spLocks/>
          </p:cNvSpPr>
          <p:nvPr/>
        </p:nvSpPr>
        <p:spPr>
          <a:xfrm>
            <a:off x="189493" y="4578100"/>
            <a:ext cx="49134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0" name="Right Arrow 225"/>
          <p:cNvSpPr>
            <a:spLocks/>
          </p:cNvSpPr>
          <p:nvPr/>
        </p:nvSpPr>
        <p:spPr>
          <a:xfrm>
            <a:off x="1999430" y="4578100"/>
            <a:ext cx="416962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52" name="10-конечная звезда 51"/>
          <p:cNvSpPr/>
          <p:nvPr>
            <p:custDataLst>
              <p:tags r:id="rId2"/>
            </p:custDataLst>
          </p:nvPr>
        </p:nvSpPr>
        <p:spPr>
          <a:xfrm>
            <a:off x="8453209" y="3146527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3" name="10-конечная звезда 52"/>
          <p:cNvSpPr/>
          <p:nvPr>
            <p:custDataLst>
              <p:tags r:id="rId3"/>
            </p:custDataLst>
          </p:nvPr>
        </p:nvSpPr>
        <p:spPr>
          <a:xfrm>
            <a:off x="5097997" y="3105686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4" name="10-конечная звезда 53"/>
          <p:cNvSpPr/>
          <p:nvPr>
            <p:custDataLst>
              <p:tags r:id="rId4"/>
            </p:custDataLst>
          </p:nvPr>
        </p:nvSpPr>
        <p:spPr>
          <a:xfrm>
            <a:off x="764618" y="5618470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5" name="10-конечная звезда 54"/>
          <p:cNvSpPr/>
          <p:nvPr>
            <p:custDataLst>
              <p:tags r:id="rId5"/>
            </p:custDataLst>
          </p:nvPr>
        </p:nvSpPr>
        <p:spPr>
          <a:xfrm>
            <a:off x="4684449" y="3386174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7" name="10-конечная звезда 56"/>
          <p:cNvSpPr/>
          <p:nvPr>
            <p:custDataLst>
              <p:tags r:id="rId6"/>
            </p:custDataLst>
          </p:nvPr>
        </p:nvSpPr>
        <p:spPr>
          <a:xfrm>
            <a:off x="1527749" y="3366995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7" name="Rectangle 41"/>
          <p:cNvSpPr txBox="1">
            <a:spLocks/>
          </p:cNvSpPr>
          <p:nvPr/>
        </p:nvSpPr>
        <p:spPr>
          <a:xfrm>
            <a:off x="2417935" y="1382853"/>
            <a:ext cx="1318590" cy="32849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100" b="1" i="1" dirty="0" smtClean="0">
                <a:solidFill>
                  <a:schemeClr val="bg1"/>
                </a:solidFill>
              </a:rPr>
              <a:t>Шаг 2</a:t>
            </a:r>
            <a:endParaRPr lang="ru-RU" sz="1100" b="1" i="1" dirty="0">
              <a:solidFill>
                <a:schemeClr val="bg1"/>
              </a:solidFill>
            </a:endParaRPr>
          </a:p>
        </p:txBody>
      </p:sp>
      <p:sp>
        <p:nvSpPr>
          <p:cNvPr id="59" name="Rectangle 216"/>
          <p:cNvSpPr/>
          <p:nvPr/>
        </p:nvSpPr>
        <p:spPr>
          <a:xfrm>
            <a:off x="2452639" y="4204424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Воспитанники одевают верхнюю одежду ( в зависимости от сезона)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60" name="Rectangle 41"/>
          <p:cNvSpPr txBox="1">
            <a:spLocks/>
          </p:cNvSpPr>
          <p:nvPr/>
        </p:nvSpPr>
        <p:spPr>
          <a:xfrm>
            <a:off x="2452639" y="3826224"/>
            <a:ext cx="1318590" cy="32849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1954" tIns="35979" rIns="35979" bIns="3597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200" b="1" i="1" dirty="0" smtClean="0">
                <a:solidFill>
                  <a:schemeClr val="bg1"/>
                </a:solidFill>
              </a:rPr>
              <a:t>Шаг 7</a:t>
            </a:r>
            <a:endParaRPr lang="ru-RU" sz="1200" b="1" i="1" dirty="0">
              <a:solidFill>
                <a:schemeClr val="bg1"/>
              </a:solidFill>
            </a:endParaRPr>
          </a:p>
        </p:txBody>
      </p:sp>
      <p:sp>
        <p:nvSpPr>
          <p:cNvPr id="61" name="Right Arrow 225"/>
          <p:cNvSpPr>
            <a:spLocks/>
          </p:cNvSpPr>
          <p:nvPr/>
        </p:nvSpPr>
        <p:spPr>
          <a:xfrm>
            <a:off x="8054577" y="4578100"/>
            <a:ext cx="416962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1" tIns="45691" rIns="91381" bIns="45691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753055" y="4280446"/>
            <a:ext cx="895454" cy="261552"/>
          </a:xfrm>
          <a:prstGeom prst="rect">
            <a:avLst/>
          </a:prstGeom>
          <a:noFill/>
        </p:spPr>
        <p:txBody>
          <a:bodyPr wrap="square" lIns="91381" tIns="45691" rIns="91381" bIns="45691" rtlCol="0">
            <a:spAutoFit/>
          </a:bodyPr>
          <a:lstStyle/>
          <a:p>
            <a:r>
              <a:rPr lang="ru-RU" sz="1100" b="1" dirty="0" smtClean="0"/>
              <a:t>8-10 </a:t>
            </a:r>
            <a:r>
              <a:rPr lang="ru-RU" sz="1100" b="1" dirty="0"/>
              <a:t>мин.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119569" y="5821677"/>
            <a:ext cx="426757" cy="329213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542707" y="5618470"/>
            <a:ext cx="426757" cy="329213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293640" y="2203807"/>
            <a:ext cx="438950" cy="365792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4212047" y="4186407"/>
            <a:ext cx="1372201" cy="1926503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5991033" y="4186406"/>
            <a:ext cx="1335140" cy="1926503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4212047" y="3805780"/>
            <a:ext cx="1376601" cy="353599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5991033" y="3838429"/>
            <a:ext cx="1329043" cy="353599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4522350" y="4261148"/>
            <a:ext cx="8194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/>
              <a:t>8-10 мин.</a:t>
            </a:r>
            <a:endParaRPr lang="ru-RU" sz="1100" b="1" dirty="0"/>
          </a:p>
        </p:txBody>
      </p:sp>
      <p:sp>
        <p:nvSpPr>
          <p:cNvPr id="64" name="TextBox 63"/>
          <p:cNvSpPr txBox="1"/>
          <p:nvPr/>
        </p:nvSpPr>
        <p:spPr>
          <a:xfrm>
            <a:off x="4284416" y="4733503"/>
            <a:ext cx="12513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 smtClean="0">
                <a:latin typeface="+mj-lt"/>
              </a:rPr>
              <a:t>Воспитанники </a:t>
            </a:r>
          </a:p>
          <a:p>
            <a:pPr algn="ctr"/>
            <a:r>
              <a:rPr lang="ru-RU" sz="1200" dirty="0" smtClean="0">
                <a:latin typeface="+mj-lt"/>
              </a:rPr>
              <a:t>выходят в холл, </a:t>
            </a:r>
          </a:p>
          <a:p>
            <a:pPr algn="ctr"/>
            <a:r>
              <a:rPr lang="ru-RU" sz="1200" dirty="0" smtClean="0">
                <a:latin typeface="+mj-lt"/>
              </a:rPr>
              <a:t>обуваются.</a:t>
            </a:r>
            <a:endParaRPr lang="ru-RU" sz="1200" dirty="0">
              <a:latin typeface="+mj-lt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340830" y="4280388"/>
            <a:ext cx="74090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 smtClean="0"/>
              <a:t>3-4 мин.</a:t>
            </a:r>
            <a:endParaRPr lang="ru-RU" sz="1100" b="1" dirty="0"/>
          </a:p>
        </p:txBody>
      </p:sp>
      <p:sp>
        <p:nvSpPr>
          <p:cNvPr id="66" name="TextBox 65"/>
          <p:cNvSpPr txBox="1"/>
          <p:nvPr/>
        </p:nvSpPr>
        <p:spPr>
          <a:xfrm>
            <a:off x="5991033" y="4677094"/>
            <a:ext cx="138018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 smtClean="0">
                <a:latin typeface="+mj-lt"/>
              </a:rPr>
              <a:t>Воспитанники </a:t>
            </a:r>
          </a:p>
          <a:p>
            <a:pPr algn="ctr"/>
            <a:r>
              <a:rPr lang="ru-RU" sz="1200" dirty="0" smtClean="0">
                <a:latin typeface="+mj-lt"/>
              </a:rPr>
              <a:t>совместно с </a:t>
            </a:r>
          </a:p>
          <a:p>
            <a:pPr algn="ctr"/>
            <a:r>
              <a:rPr lang="ru-RU" sz="1200" dirty="0" smtClean="0">
                <a:latin typeface="+mj-lt"/>
              </a:rPr>
              <a:t>воспитателем  </a:t>
            </a:r>
          </a:p>
          <a:p>
            <a:pPr algn="ctr"/>
            <a:r>
              <a:rPr lang="ru-RU" sz="1200" dirty="0" smtClean="0">
                <a:latin typeface="+mj-lt"/>
              </a:rPr>
              <a:t>выходят на улицу.</a:t>
            </a:r>
            <a:endParaRPr lang="ru-RU" sz="1200" dirty="0">
              <a:latin typeface="+mj-lt"/>
            </a:endParaRPr>
          </a:p>
        </p:txBody>
      </p:sp>
      <p:pic>
        <p:nvPicPr>
          <p:cNvPr id="68" name="Рисунок 67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7690397" y="3297031"/>
            <a:ext cx="426757" cy="329213"/>
          </a:xfrm>
          <a:prstGeom prst="rect">
            <a:avLst/>
          </a:prstGeom>
        </p:spPr>
      </p:pic>
      <p:pic>
        <p:nvPicPr>
          <p:cNvPr id="69" name="Рисунок 68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4267340" y="3196130"/>
            <a:ext cx="426757" cy="329213"/>
          </a:xfrm>
          <a:prstGeom prst="rect">
            <a:avLst/>
          </a:prstGeom>
        </p:spPr>
      </p:pic>
      <p:pic>
        <p:nvPicPr>
          <p:cNvPr id="70" name="Рисунок 69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2935069" y="5805624"/>
            <a:ext cx="426757" cy="329213"/>
          </a:xfrm>
          <a:prstGeom prst="rect">
            <a:avLst/>
          </a:prstGeom>
        </p:spPr>
      </p:pic>
      <p:pic>
        <p:nvPicPr>
          <p:cNvPr id="71" name="Рисунок 70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4231364" y="5724374"/>
            <a:ext cx="426757" cy="323116"/>
          </a:xfrm>
          <a:prstGeom prst="rect">
            <a:avLst/>
          </a:prstGeom>
        </p:spPr>
      </p:pic>
      <p:pic>
        <p:nvPicPr>
          <p:cNvPr id="72" name="Рисунок 71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3452653" y="3279428"/>
            <a:ext cx="426757" cy="323116"/>
          </a:xfrm>
          <a:prstGeom prst="rect">
            <a:avLst/>
          </a:prstGeom>
        </p:spPr>
      </p:pic>
      <p:sp>
        <p:nvSpPr>
          <p:cNvPr id="75" name="TextBox 74"/>
          <p:cNvSpPr txBox="1"/>
          <p:nvPr/>
        </p:nvSpPr>
        <p:spPr>
          <a:xfrm>
            <a:off x="2542707" y="6127388"/>
            <a:ext cx="47516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70C0"/>
                </a:solidFill>
              </a:rPr>
              <a:t>ВПП(время протекания процесса)- 40-50 мин</a:t>
            </a:r>
            <a:endParaRPr lang="ru-RU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988679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931" y="241742"/>
            <a:ext cx="7726680" cy="369332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рамида проблем</a:t>
            </a:r>
            <a:endParaRPr lang="en-US" sz="24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Трапеция 2">
            <a:extLst>
              <a:ext uri="{FF2B5EF4-FFF2-40B4-BE49-F238E27FC236}">
                <a16:creationId xmlns:a16="http://schemas.microsoft.com/office/drawing/2014/main" xmlns="" id="{FEA94B5E-3ECA-46F3-8242-90F1BA3E4187}"/>
              </a:ext>
            </a:extLst>
          </p:cNvPr>
          <p:cNvSpPr/>
          <p:nvPr/>
        </p:nvSpPr>
        <p:spPr bwMode="auto">
          <a:xfrm>
            <a:off x="123567" y="3882750"/>
            <a:ext cx="4860325" cy="1711967"/>
          </a:xfrm>
          <a:prstGeom prst="trapezoid">
            <a:avLst>
              <a:gd name="adj" fmla="val 59506"/>
            </a:avLst>
          </a:prstGeom>
          <a:solidFill>
            <a:srgbClr val="0070C0">
              <a:alpha val="47843"/>
            </a:srgbClr>
          </a:solidFill>
          <a:ln w="9525" cap="flat" cmpd="sng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Трапеция 3">
            <a:extLst>
              <a:ext uri="{FF2B5EF4-FFF2-40B4-BE49-F238E27FC236}">
                <a16:creationId xmlns:a16="http://schemas.microsoft.com/office/drawing/2014/main" xmlns="" id="{59DC12A3-C1E8-4DAD-AB54-B0A685CCA0A8}"/>
              </a:ext>
            </a:extLst>
          </p:cNvPr>
          <p:cNvSpPr/>
          <p:nvPr/>
        </p:nvSpPr>
        <p:spPr bwMode="auto">
          <a:xfrm>
            <a:off x="1129716" y="2480186"/>
            <a:ext cx="2833703" cy="1258948"/>
          </a:xfrm>
          <a:prstGeom prst="trapezoid">
            <a:avLst>
              <a:gd name="adj" fmla="val 59506"/>
            </a:avLst>
          </a:prstGeom>
          <a:solidFill>
            <a:srgbClr val="4770B5">
              <a:alpha val="47843"/>
            </a:srgbClr>
          </a:solidFill>
          <a:ln w="9525" cap="flat" cmpd="sng" algn="ctr">
            <a:solidFill>
              <a:srgbClr val="0033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Равнобедренный треугольник 4">
            <a:extLst>
              <a:ext uri="{FF2B5EF4-FFF2-40B4-BE49-F238E27FC236}">
                <a16:creationId xmlns:a16="http://schemas.microsoft.com/office/drawing/2014/main" xmlns="" id="{BB0E51F4-6683-486D-828A-441F28358AC4}"/>
              </a:ext>
            </a:extLst>
          </p:cNvPr>
          <p:cNvSpPr/>
          <p:nvPr/>
        </p:nvSpPr>
        <p:spPr bwMode="auto">
          <a:xfrm>
            <a:off x="1809425" y="1100656"/>
            <a:ext cx="1474286" cy="1205000"/>
          </a:xfrm>
          <a:prstGeom prst="triangle">
            <a:avLst>
              <a:gd name="adj" fmla="val 49251"/>
            </a:avLst>
          </a:prstGeom>
          <a:solidFill>
            <a:srgbClr val="327FBE">
              <a:alpha val="21961"/>
            </a:srgbClr>
          </a:solidFill>
          <a:ln w="9525" cap="flat" cmpd="sng" algn="ctr">
            <a:solidFill>
              <a:schemeClr val="accent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0E5A6370-CD24-4CD9-A71A-C9E5DD12C635}"/>
              </a:ext>
            </a:extLst>
          </p:cNvPr>
          <p:cNvSpPr/>
          <p:nvPr/>
        </p:nvSpPr>
        <p:spPr>
          <a:xfrm>
            <a:off x="1276074" y="3935975"/>
            <a:ext cx="2555309" cy="378218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ln w="6350">
                  <a:solidFill>
                    <a:schemeClr val="tx1"/>
                  </a:solidFill>
                </a:ln>
              </a:rPr>
              <a:t>Местный уровень</a:t>
            </a:r>
            <a:endParaRPr lang="ru-RU" sz="1600" dirty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C469C47B-2C08-462A-A103-80CA445B1B4E}"/>
              </a:ext>
            </a:extLst>
          </p:cNvPr>
          <p:cNvSpPr/>
          <p:nvPr/>
        </p:nvSpPr>
        <p:spPr>
          <a:xfrm>
            <a:off x="1865910" y="2518507"/>
            <a:ext cx="2580361" cy="304397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ln w="6350">
                  <a:solidFill>
                    <a:schemeClr val="tx1"/>
                  </a:solidFill>
                </a:ln>
              </a:rPr>
              <a:t>Региональный уровень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482426F1-1212-4CAB-9D7A-374AC91E8D3D}"/>
              </a:ext>
            </a:extLst>
          </p:cNvPr>
          <p:cNvSpPr/>
          <p:nvPr/>
        </p:nvSpPr>
        <p:spPr>
          <a:xfrm>
            <a:off x="2453520" y="1233329"/>
            <a:ext cx="2755726" cy="269325"/>
          </a:xfrm>
          <a:prstGeom prst="rec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>
                <a:ln w="6350">
                  <a:solidFill>
                    <a:schemeClr val="tx1"/>
                  </a:solidFill>
                </a:ln>
              </a:rPr>
              <a:t>Федеральный уровень</a:t>
            </a:r>
            <a:endParaRPr lang="ru-RU" sz="1600" dirty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541FFCD0-0C73-46A9-8C88-7733FD3D7449}"/>
              </a:ext>
            </a:extLst>
          </p:cNvPr>
          <p:cNvSpPr/>
          <p:nvPr/>
        </p:nvSpPr>
        <p:spPr>
          <a:xfrm>
            <a:off x="4033043" y="4472997"/>
            <a:ext cx="4830872" cy="180605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.   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олгое отсутствие детей 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 каким - либо причинам.</a:t>
            </a:r>
            <a:endParaRPr lang="ru-RU" sz="12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.   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отеря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ремени при переодевании.</a:t>
            </a:r>
            <a:endParaRPr lang="ru-RU" sz="12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.   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изкий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ровень самостоятельности детей.</a:t>
            </a:r>
            <a:endParaRPr lang="ru-RU" sz="12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.   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тсутствие единой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истемы.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5.    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Беспорядок </a:t>
            </a: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нутри детских шкафчиков.</a:t>
            </a:r>
            <a:endParaRPr lang="ru-RU" sz="1200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46192284-9982-4F4F-8AB3-555BE6A785EA}"/>
              </a:ext>
            </a:extLst>
          </p:cNvPr>
          <p:cNvSpPr/>
          <p:nvPr/>
        </p:nvSpPr>
        <p:spPr>
          <a:xfrm>
            <a:off x="4033043" y="2822904"/>
            <a:ext cx="4900495" cy="97052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ыявлены</a:t>
            </a:r>
            <a:endParaRPr lang="ru-RU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CD45F780-F234-44EF-A0B3-176E03B021F1}"/>
              </a:ext>
            </a:extLst>
          </p:cNvPr>
          <p:cNvSpPr/>
          <p:nvPr/>
        </p:nvSpPr>
        <p:spPr>
          <a:xfrm>
            <a:off x="3963419" y="1548855"/>
            <a:ext cx="4900495" cy="7588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ыявлены</a:t>
            </a:r>
            <a:endParaRPr lang="ru-RU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05246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 txBox="1">
            <a:spLocks/>
          </p:cNvSpPr>
          <p:nvPr/>
        </p:nvSpPr>
        <p:spPr>
          <a:xfrm>
            <a:off x="0" y="123568"/>
            <a:ext cx="8378392" cy="749643"/>
          </a:xfrm>
          <a:prstGeom prst="rect">
            <a:avLst/>
          </a:prstGeom>
        </p:spPr>
        <p:txBody>
          <a:bodyPr/>
          <a:lstStyle>
            <a:lvl1pPr algn="l" defTabSz="896112" rtl="0" eaLnBrk="1" latinLnBrk="0" hangingPunct="1">
              <a:spcBef>
                <a:spcPct val="0"/>
              </a:spcBef>
              <a:buNone/>
              <a:defRPr sz="27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 проблем и способы решения</a:t>
            </a:r>
            <a:endParaRPr lang="en-US" sz="1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294272" y="5590512"/>
            <a:ext cx="4479925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/>
              <a:t>  </a:t>
            </a:r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32426085"/>
              </p:ext>
            </p:extLst>
          </p:nvPr>
        </p:nvGraphicFramePr>
        <p:xfrm>
          <a:off x="948283" y="502508"/>
          <a:ext cx="6898257" cy="5812889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2299419">
                  <a:extLst>
                    <a:ext uri="{9D8B030D-6E8A-4147-A177-3AD203B41FA5}">
                      <a16:colId xmlns:a16="http://schemas.microsoft.com/office/drawing/2014/main" xmlns="" val="2190240856"/>
                    </a:ext>
                  </a:extLst>
                </a:gridCol>
                <a:gridCol w="2299419">
                  <a:extLst>
                    <a:ext uri="{9D8B030D-6E8A-4147-A177-3AD203B41FA5}">
                      <a16:colId xmlns:a16="http://schemas.microsoft.com/office/drawing/2014/main" xmlns="" val="1371337447"/>
                    </a:ext>
                  </a:extLst>
                </a:gridCol>
                <a:gridCol w="2299419">
                  <a:extLst>
                    <a:ext uri="{9D8B030D-6E8A-4147-A177-3AD203B41FA5}">
                      <a16:colId xmlns:a16="http://schemas.microsoft.com/office/drawing/2014/main" xmlns="" val="22672886"/>
                    </a:ext>
                  </a:extLst>
                </a:gridCol>
              </a:tblGrid>
              <a:tr h="600809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Проблем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Способ решен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Экономия времени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97961065"/>
                  </a:ext>
                </a:extLst>
              </a:tr>
              <a:tr h="11703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 smtClean="0">
                          <a:solidFill>
                            <a:schemeClr val="tx1"/>
                          </a:solidFill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сутствие в детском саду детей, по каким-либо причинам.</a:t>
                      </a:r>
                    </a:p>
                    <a:p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Беседы</a:t>
                      </a:r>
                      <a:r>
                        <a:rPr lang="ru-RU" sz="1600" baseline="0" dirty="0" smtClean="0"/>
                        <a:t> с родителями (законными представителями), закаливающие мероприятия.</a:t>
                      </a:r>
                      <a:r>
                        <a:rPr lang="ru-RU" sz="1600" dirty="0" smtClean="0"/>
                        <a:t> 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 </a:t>
                      </a:r>
                    </a:p>
                    <a:p>
                      <a:pPr algn="ctr"/>
                      <a:r>
                        <a:rPr lang="ru-RU" dirty="0" smtClean="0"/>
                        <a:t>5 мин.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22071961"/>
                  </a:ext>
                </a:extLst>
              </a:tr>
              <a:tr h="772468"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Потеря времени при переодевании.</a:t>
                      </a:r>
                    </a:p>
                    <a:p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Разработать стандарт процесса одевания на прогулку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5 - 7 мин.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53329348"/>
                  </a:ext>
                </a:extLst>
              </a:tr>
              <a:tr h="772468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Низкий уровень самостоятельности детей.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Учить воспитанников</a:t>
                      </a:r>
                      <a:r>
                        <a:rPr lang="ru-RU" sz="1600" baseline="0" dirty="0" smtClean="0"/>
                        <a:t> следовать алгоритмам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10 - 12 мин.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869187"/>
                  </a:ext>
                </a:extLst>
              </a:tr>
              <a:tr h="772468"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Беспорядок внутри детских шкафчиков.</a:t>
                      </a:r>
                    </a:p>
                    <a:p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Разработать</a:t>
                      </a:r>
                      <a:r>
                        <a:rPr lang="ru-RU" sz="1600" baseline="0" dirty="0" smtClean="0"/>
                        <a:t> блок схему размещения вещей в шкафчике.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3 - 5 мин.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16908613"/>
                  </a:ext>
                </a:extLst>
              </a:tr>
              <a:tr h="1001348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Отсутствие единой системы.</a:t>
                      </a:r>
                    </a:p>
                    <a:p>
                      <a:r>
                        <a:rPr lang="ru-RU" sz="1600" dirty="0" smtClean="0"/>
                        <a:t>    </a:t>
                      </a:r>
                    </a:p>
                    <a:p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Разработать алгоритм</a:t>
                      </a:r>
                      <a:r>
                        <a:rPr lang="ru-RU" sz="1600" baseline="0" dirty="0" smtClean="0"/>
                        <a:t> одевания (по сезонам)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8 -12 мин.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2179532"/>
                  </a:ext>
                </a:extLst>
              </a:tr>
              <a:tr h="348088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280076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863029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xmlns="" val="3083192034"/>
              </p:ext>
            </p:extLst>
          </p:nvPr>
        </p:nvGraphicFramePr>
        <p:xfrm>
          <a:off x="2610253" y="3923140"/>
          <a:ext cx="1430990" cy="4127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4042752" y="123568"/>
            <a:ext cx="3606080" cy="463378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itle 1"/>
          <p:cNvSpPr txBox="1">
            <a:spLocks/>
          </p:cNvSpPr>
          <p:nvPr/>
        </p:nvSpPr>
        <p:spPr>
          <a:xfrm>
            <a:off x="-222933" y="123568"/>
            <a:ext cx="4096161" cy="749643"/>
          </a:xfrm>
          <a:prstGeom prst="rect">
            <a:avLst/>
          </a:prstGeom>
        </p:spPr>
        <p:txBody>
          <a:bodyPr/>
          <a:lstStyle>
            <a:lvl1pPr algn="l" defTabSz="896112" rtl="0" eaLnBrk="1" latinLnBrk="0" hangingPunct="1">
              <a:spcBef>
                <a:spcPct val="0"/>
              </a:spcBef>
              <a:buNone/>
              <a:defRPr sz="27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хема </a:t>
            </a:r>
          </a:p>
          <a:p>
            <a:pPr algn="ctr" fontAlgn="auto">
              <a:spcAft>
                <a:spcPts val="0"/>
              </a:spcAft>
            </a:pPr>
            <a:r>
              <a:rPr lang="ru-RU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емной комнаты </a:t>
            </a:r>
            <a:endParaRPr lang="en-US" sz="1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4183956" y="326897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ира А.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4176434" y="589596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ниэль А</a:t>
            </a:r>
            <a:endParaRPr lang="ru-RU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4185409" y="876706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ван Б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4190826" y="1138660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милия В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4176434" y="1407298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ртур Г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4176546" y="1658655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стасия Г</a:t>
            </a:r>
            <a:endParaRPr lang="ru-RU"/>
          </a:p>
        </p:txBody>
      </p:sp>
      <p:sp>
        <p:nvSpPr>
          <p:cNvPr id="37" name="Прямоугольник 36"/>
          <p:cNvSpPr/>
          <p:nvPr/>
        </p:nvSpPr>
        <p:spPr>
          <a:xfrm>
            <a:off x="4171928" y="1907591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лина Г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4171928" y="2162422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38"/>
          <p:cNvSpPr/>
          <p:nvPr/>
        </p:nvSpPr>
        <p:spPr>
          <a:xfrm>
            <a:off x="4171928" y="2407054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има Е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4171928" y="2655868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ла И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4180321" y="3163684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ника К</a:t>
            </a:r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4176434" y="2896020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мелия К</a:t>
            </a:r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6601514" y="317159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Прямоугольник 43"/>
          <p:cNvSpPr/>
          <p:nvPr/>
        </p:nvSpPr>
        <p:spPr>
          <a:xfrm>
            <a:off x="6601514" y="580769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фия М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599911" y="836142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леб Л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6599911" y="1087395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Прямоугольник 46"/>
          <p:cNvSpPr/>
          <p:nvPr/>
        </p:nvSpPr>
        <p:spPr>
          <a:xfrm>
            <a:off x="6601514" y="1335174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хаил М</a:t>
            </a:r>
            <a:endParaRPr lang="ru-RU"/>
          </a:p>
        </p:txBody>
      </p:sp>
      <p:sp>
        <p:nvSpPr>
          <p:cNvPr id="48" name="Прямоугольник 47"/>
          <p:cNvSpPr/>
          <p:nvPr/>
        </p:nvSpPr>
        <p:spPr>
          <a:xfrm>
            <a:off x="6599911" y="1573751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ука М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6601514" y="1815910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фия М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6599911" y="2042984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миника 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594748" y="2288060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6599911" y="2539314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ван О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6601514" y="3040029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Вивея </a:t>
            </a:r>
            <a:r>
              <a:rPr lang="ru-RU" sz="105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6586221" y="2786858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и О</a:t>
            </a:r>
            <a:endParaRPr lang="ru-RU"/>
          </a:p>
        </p:txBody>
      </p:sp>
      <p:sp>
        <p:nvSpPr>
          <p:cNvPr id="28" name="Овал 27"/>
          <p:cNvSpPr/>
          <p:nvPr/>
        </p:nvSpPr>
        <p:spPr>
          <a:xfrm>
            <a:off x="5576927" y="253314"/>
            <a:ext cx="533401" cy="100089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Овал 55"/>
          <p:cNvSpPr/>
          <p:nvPr/>
        </p:nvSpPr>
        <p:spPr>
          <a:xfrm rot="16200000">
            <a:off x="1633323" y="3867551"/>
            <a:ext cx="461190" cy="889783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Овал 57"/>
          <p:cNvSpPr/>
          <p:nvPr/>
        </p:nvSpPr>
        <p:spPr>
          <a:xfrm rot="16200000">
            <a:off x="402322" y="1782462"/>
            <a:ext cx="533401" cy="1000897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Прямоугольник 58"/>
          <p:cNvSpPr/>
          <p:nvPr/>
        </p:nvSpPr>
        <p:spPr>
          <a:xfrm>
            <a:off x="298825" y="1105305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Овал 28"/>
          <p:cNvSpPr/>
          <p:nvPr/>
        </p:nvSpPr>
        <p:spPr>
          <a:xfrm>
            <a:off x="3318202" y="3105663"/>
            <a:ext cx="639788" cy="621955"/>
          </a:xfrm>
          <a:prstGeom prst="ellipse">
            <a:avLst/>
          </a:prstGeom>
          <a:solidFill>
            <a:srgbClr val="FFCC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Овал 60"/>
          <p:cNvSpPr/>
          <p:nvPr/>
        </p:nvSpPr>
        <p:spPr>
          <a:xfrm>
            <a:off x="275655" y="2761740"/>
            <a:ext cx="639788" cy="621955"/>
          </a:xfrm>
          <a:prstGeom prst="ellipse">
            <a:avLst/>
          </a:prstGeom>
          <a:solidFill>
            <a:srgbClr val="FFCC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Прямоугольник 62"/>
          <p:cNvSpPr/>
          <p:nvPr/>
        </p:nvSpPr>
        <p:spPr>
          <a:xfrm>
            <a:off x="5070879" y="4456541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ёдор К.</a:t>
            </a:r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4071717" y="4462484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нис С</a:t>
            </a:r>
            <a:endParaRPr lang="ru-RU"/>
          </a:p>
        </p:txBody>
      </p:sp>
      <p:sp>
        <p:nvSpPr>
          <p:cNvPr id="65" name="Прямоугольник 64"/>
          <p:cNvSpPr/>
          <p:nvPr/>
        </p:nvSpPr>
        <p:spPr>
          <a:xfrm>
            <a:off x="5402542" y="2284510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ксим К.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5402543" y="2509463"/>
            <a:ext cx="914400" cy="172994"/>
          </a:xfrm>
          <a:prstGeom prst="rect">
            <a:avLst/>
          </a:prstGeom>
          <a:solidFill>
            <a:srgbClr val="E1EBF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05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ниэль С.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280835" y="980303"/>
            <a:ext cx="10279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кабинки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1254233" y="2064440"/>
            <a:ext cx="109645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банкетки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1273859" y="2665406"/>
            <a:ext cx="17877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тол 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ля документации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1999675" y="4668424"/>
            <a:ext cx="914400" cy="172994"/>
          </a:xfrm>
          <a:prstGeom prst="rect">
            <a:avLst/>
          </a:prstGeom>
          <a:solidFill>
            <a:srgbClr val="BCDAF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2923454" y="4668424"/>
            <a:ext cx="914400" cy="172994"/>
          </a:xfrm>
          <a:prstGeom prst="rect">
            <a:avLst/>
          </a:prstGeom>
          <a:solidFill>
            <a:srgbClr val="BCDAF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1061306" y="4670854"/>
            <a:ext cx="914400" cy="172994"/>
          </a:xfrm>
          <a:prstGeom prst="rect">
            <a:avLst/>
          </a:prstGeom>
          <a:solidFill>
            <a:srgbClr val="BCDAF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280828" y="1546261"/>
            <a:ext cx="914400" cy="172994"/>
          </a:xfrm>
          <a:prstGeom prst="rect">
            <a:avLst/>
          </a:prstGeom>
          <a:solidFill>
            <a:srgbClr val="BCDAF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ru-RU" sz="105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273859" y="1454201"/>
            <a:ext cx="21067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шкафчики под обувь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5348450" y="189470"/>
            <a:ext cx="125306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396278" y="1389881"/>
            <a:ext cx="938865" cy="19508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402543" y="1597193"/>
            <a:ext cx="938865" cy="195089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402542" y="1821121"/>
            <a:ext cx="938865" cy="19508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392649" y="2058581"/>
            <a:ext cx="938865" cy="195089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4061907" y="4804937"/>
            <a:ext cx="3586925" cy="16145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Групповая комната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5568782" y="2764534"/>
            <a:ext cx="554784" cy="1024217"/>
          </a:xfrm>
          <a:prstGeom prst="rect">
            <a:avLst/>
          </a:prstGeom>
        </p:spPr>
      </p:pic>
      <p:cxnSp>
        <p:nvCxnSpPr>
          <p:cNvPr id="11" name="Прямая соединительная линия 10"/>
          <p:cNvCxnSpPr/>
          <p:nvPr/>
        </p:nvCxnSpPr>
        <p:spPr>
          <a:xfrm>
            <a:off x="4171928" y="3727618"/>
            <a:ext cx="0" cy="5468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6601514" y="4635478"/>
            <a:ext cx="8043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 rot="16200000">
            <a:off x="6269966" y="4715613"/>
            <a:ext cx="1289116" cy="40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910384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1"/>
          <p:cNvSpPr txBox="1">
            <a:spLocks/>
          </p:cNvSpPr>
          <p:nvPr/>
        </p:nvSpPr>
        <p:spPr>
          <a:xfrm>
            <a:off x="0" y="123568"/>
            <a:ext cx="8378392" cy="749643"/>
          </a:xfrm>
          <a:prstGeom prst="rect">
            <a:avLst/>
          </a:prstGeom>
        </p:spPr>
        <p:txBody>
          <a:bodyPr/>
          <a:lstStyle>
            <a:lvl1pPr algn="l" defTabSz="896112" rtl="0" eaLnBrk="1" latinLnBrk="0" hangingPunct="1">
              <a:spcBef>
                <a:spcPct val="0"/>
              </a:spcBef>
              <a:buNone/>
              <a:defRPr sz="27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fontAlgn="auto">
              <a:spcAft>
                <a:spcPts val="0"/>
              </a:spcAft>
            </a:pPr>
            <a:r>
              <a:rPr lang="ru-RU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еменные потери при оптимизации процесса сбора воспитанников на прогулку</a:t>
            </a:r>
          </a:p>
          <a:p>
            <a:pPr algn="ctr" fontAlgn="auto">
              <a:spcAft>
                <a:spcPts val="0"/>
              </a:spcAft>
            </a:pPr>
            <a:r>
              <a:rPr lang="ru-RU" sz="18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5 почему?)</a:t>
            </a:r>
          </a:p>
          <a:p>
            <a:pPr algn="ctr" fontAlgn="auto">
              <a:spcAft>
                <a:spcPts val="0"/>
              </a:spcAft>
            </a:pPr>
            <a:endParaRPr lang="ru-RU" sz="1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auto">
              <a:spcAft>
                <a:spcPts val="0"/>
              </a:spcAft>
            </a:pPr>
            <a:endParaRPr lang="en-US" sz="18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Стрелка вправо 4"/>
          <p:cNvSpPr/>
          <p:nvPr/>
        </p:nvSpPr>
        <p:spPr>
          <a:xfrm>
            <a:off x="3183269" y="1287870"/>
            <a:ext cx="978408" cy="484632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210788" y="2915358"/>
            <a:ext cx="1005927" cy="54868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183269" y="3769706"/>
            <a:ext cx="1005927" cy="548688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187187" y="4608705"/>
            <a:ext cx="1005927" cy="54868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169509" y="2061010"/>
            <a:ext cx="1005927" cy="548688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691978" y="1213001"/>
            <a:ext cx="2026509" cy="62633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ПОЧЕМУ ? </a:t>
            </a:r>
            <a:endParaRPr lang="ru-RU" sz="1800" b="1" dirty="0">
              <a:solidFill>
                <a:schemeClr val="bg1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91978" y="2046089"/>
            <a:ext cx="2048434" cy="652329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91978" y="2905176"/>
            <a:ext cx="2048434" cy="652329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81015" y="3797497"/>
            <a:ext cx="2048434" cy="652329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91978" y="4670650"/>
            <a:ext cx="2048434" cy="652329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713903" y="2058022"/>
            <a:ext cx="2026509" cy="62633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ПОЧЕМУ ? 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13902" y="2900162"/>
            <a:ext cx="2026509" cy="62633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ПОЧЕМУ ? </a:t>
            </a:r>
            <a:endParaRPr lang="ru-RU" sz="1800" b="1" dirty="0">
              <a:solidFill>
                <a:schemeClr val="bg1"/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91977" y="3797497"/>
            <a:ext cx="2048434" cy="652329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713903" y="4696649"/>
            <a:ext cx="2026509" cy="62633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ПОЧЕМУ ? 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21" name="Загнутый угол 20"/>
          <p:cNvSpPr/>
          <p:nvPr/>
        </p:nvSpPr>
        <p:spPr>
          <a:xfrm>
            <a:off x="4626459" y="1131689"/>
            <a:ext cx="3751933" cy="707642"/>
          </a:xfrm>
          <a:prstGeom prst="foldedCorner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accent2"/>
                </a:solidFill>
              </a:rPr>
              <a:t>ДОЛГИЙ ПРОЦЕСС ОДЕВАНИЯ НА ПРОГУЛКУ</a:t>
            </a:r>
            <a:endParaRPr lang="ru-RU" sz="1400" dirty="0">
              <a:solidFill>
                <a:schemeClr val="accent2"/>
              </a:solidFill>
            </a:endParaRPr>
          </a:p>
        </p:txBody>
      </p:sp>
      <p:sp>
        <p:nvSpPr>
          <p:cNvPr id="23" name="Загнутый угол 22"/>
          <p:cNvSpPr/>
          <p:nvPr/>
        </p:nvSpPr>
        <p:spPr>
          <a:xfrm>
            <a:off x="4626459" y="2034213"/>
            <a:ext cx="3691301" cy="623936"/>
          </a:xfrm>
          <a:prstGeom prst="foldedCorner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accent2"/>
                </a:solidFill>
              </a:rPr>
              <a:t>НИЗКАЯ ОРИЕНТИРОВКА В ШКАФЧИКАХ ДЛЯ РАЗДЕВАНИЯ (ОДЕВАНИЯ)</a:t>
            </a:r>
            <a:endParaRPr lang="ru-RU" sz="1400" dirty="0">
              <a:solidFill>
                <a:schemeClr val="accent2"/>
              </a:solidFill>
            </a:endParaRPr>
          </a:p>
        </p:txBody>
      </p:sp>
      <p:sp>
        <p:nvSpPr>
          <p:cNvPr id="24" name="Загнутый угол 23"/>
          <p:cNvSpPr/>
          <p:nvPr/>
        </p:nvSpPr>
        <p:spPr>
          <a:xfrm>
            <a:off x="4656772" y="2893140"/>
            <a:ext cx="3630669" cy="593124"/>
          </a:xfrm>
          <a:prstGeom prst="foldedCorner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accent2"/>
                </a:solidFill>
              </a:rPr>
              <a:t>ОТСУТСТВИЕ ЕДИНОЙ </a:t>
            </a:r>
            <a:r>
              <a:rPr lang="ru-RU" sz="1400" dirty="0" smtClean="0">
                <a:solidFill>
                  <a:schemeClr val="accent2"/>
                </a:solidFill>
              </a:rPr>
              <a:t>СИСТЕМЫ </a:t>
            </a:r>
            <a:r>
              <a:rPr lang="ru-RU" sz="1400" dirty="0" smtClean="0">
                <a:solidFill>
                  <a:schemeClr val="accent2"/>
                </a:solidFill>
              </a:rPr>
              <a:t>СБОРОВ НА ПРОГУЛКУ</a:t>
            </a:r>
            <a:endParaRPr lang="ru-RU" sz="1400" dirty="0">
              <a:solidFill>
                <a:schemeClr val="accent2"/>
              </a:solidFill>
            </a:endParaRPr>
          </a:p>
        </p:txBody>
      </p:sp>
      <p:sp>
        <p:nvSpPr>
          <p:cNvPr id="25" name="Загнутый угол 24"/>
          <p:cNvSpPr/>
          <p:nvPr/>
        </p:nvSpPr>
        <p:spPr>
          <a:xfrm>
            <a:off x="4656774" y="3756778"/>
            <a:ext cx="3630669" cy="540293"/>
          </a:xfrm>
          <a:prstGeom prst="foldedCorner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accent2"/>
                </a:solidFill>
              </a:rPr>
              <a:t>ОТСУТСТВИЕ ВИЗУАЛИЗАЦИИ В ШКАФЧИКАХ</a:t>
            </a:r>
            <a:endParaRPr lang="ru-RU" sz="1400" dirty="0">
              <a:solidFill>
                <a:schemeClr val="accent2"/>
              </a:solidFill>
            </a:endParaRPr>
          </a:p>
        </p:txBody>
      </p:sp>
      <p:sp>
        <p:nvSpPr>
          <p:cNvPr id="26" name="Загнутый угол 25"/>
          <p:cNvSpPr/>
          <p:nvPr/>
        </p:nvSpPr>
        <p:spPr>
          <a:xfrm>
            <a:off x="4656773" y="4608705"/>
            <a:ext cx="3630669" cy="548688"/>
          </a:xfrm>
          <a:prstGeom prst="foldedCorner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accent2"/>
                </a:solidFill>
              </a:rPr>
              <a:t>ОТСУТСТВИЕ НАГЛЯДНОГО АЛГОРИТМА</a:t>
            </a:r>
            <a:endParaRPr lang="ru-RU" sz="14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085933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2931" y="15681"/>
            <a:ext cx="7726680" cy="923330"/>
          </a:xfrm>
        </p:spPr>
        <p:txBody>
          <a:bodyPr/>
          <a:lstStyle/>
          <a:p>
            <a:pPr algn="ctr"/>
            <a:r>
              <a:rPr lang="ru-RU" sz="2000" b="1" u="sng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 мероприятий ( «Дорожная карта») по устранению проблем ( оптимизации процесса сбора детей на прогулку с помощью алгоритмов»</a:t>
            </a:r>
            <a:endParaRPr lang="en-US" sz="2000" b="1" u="sng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639072792"/>
              </p:ext>
            </p:extLst>
          </p:nvPr>
        </p:nvGraphicFramePr>
        <p:xfrm>
          <a:off x="582931" y="949074"/>
          <a:ext cx="7943231" cy="5577840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541534">
                  <a:extLst>
                    <a:ext uri="{9D8B030D-6E8A-4147-A177-3AD203B41FA5}">
                      <a16:colId xmlns:a16="http://schemas.microsoft.com/office/drawing/2014/main" xmlns="" val="875272260"/>
                    </a:ext>
                  </a:extLst>
                </a:gridCol>
                <a:gridCol w="1964724">
                  <a:extLst>
                    <a:ext uri="{9D8B030D-6E8A-4147-A177-3AD203B41FA5}">
                      <a16:colId xmlns:a16="http://schemas.microsoft.com/office/drawing/2014/main" xmlns="" val="1486271383"/>
                    </a:ext>
                  </a:extLst>
                </a:gridCol>
                <a:gridCol w="1729946">
                  <a:extLst>
                    <a:ext uri="{9D8B030D-6E8A-4147-A177-3AD203B41FA5}">
                      <a16:colId xmlns:a16="http://schemas.microsoft.com/office/drawing/2014/main" xmlns="" val="3690252418"/>
                    </a:ext>
                  </a:extLst>
                </a:gridCol>
                <a:gridCol w="1902941">
                  <a:extLst>
                    <a:ext uri="{9D8B030D-6E8A-4147-A177-3AD203B41FA5}">
                      <a16:colId xmlns:a16="http://schemas.microsoft.com/office/drawing/2014/main" xmlns="" val="1889785958"/>
                    </a:ext>
                  </a:extLst>
                </a:gridCol>
                <a:gridCol w="1804086">
                  <a:extLst>
                    <a:ext uri="{9D8B030D-6E8A-4147-A177-3AD203B41FA5}">
                      <a16:colId xmlns:a16="http://schemas.microsoft.com/office/drawing/2014/main" xmlns="" val="281565124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№ п/п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Обоснование (проблема)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Причин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Решение (план</a:t>
                      </a:r>
                      <a:r>
                        <a:rPr lang="ru-RU" baseline="0" dirty="0" smtClean="0"/>
                        <a:t> мероприятий)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Ф.И.О. ответственного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4903831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сутствие в детском саду детей, по каким-либо причинам.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Отпуск, заболеваемость воспитанников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Беседы с родителями ( законными представителями), профилактические</a:t>
                      </a:r>
                      <a:r>
                        <a:rPr lang="ru-RU" sz="1400" baseline="0" dirty="0" smtClean="0"/>
                        <a:t> мероприятия.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 smtClean="0"/>
                    </a:p>
                    <a:p>
                      <a:pPr algn="ctr"/>
                      <a:r>
                        <a:rPr lang="ru-RU" sz="1600" dirty="0" smtClean="0"/>
                        <a:t>Воспитатели</a:t>
                      </a:r>
                      <a:r>
                        <a:rPr lang="ru-RU" sz="1600" baseline="0" dirty="0" smtClean="0"/>
                        <a:t> групп.</a:t>
                      </a:r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052554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2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Потеря времени при переодевании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т стандартизации процесс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Разработать стандарт процесса одевания на прогулку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err="1" smtClean="0"/>
                        <a:t>Рослякова</a:t>
                      </a:r>
                      <a:r>
                        <a:rPr lang="ru-RU" sz="1600" dirty="0" smtClean="0"/>
                        <a:t> </a:t>
                      </a:r>
                      <a:r>
                        <a:rPr lang="ru-RU" sz="1600" dirty="0" smtClean="0"/>
                        <a:t>Т. А</a:t>
                      </a:r>
                      <a:r>
                        <a:rPr lang="ru-RU" sz="1600" dirty="0" smtClean="0"/>
                        <a:t>.</a:t>
                      </a:r>
                    </a:p>
                    <a:p>
                      <a:pPr algn="ctr"/>
                      <a:r>
                        <a:rPr lang="ru-RU" sz="1600" dirty="0" smtClean="0"/>
                        <a:t>Педагог - психолог</a:t>
                      </a:r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3831017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3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изкий уровень самостоятельности детей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Определить четкую последовательность одевания.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aseline="0" dirty="0" smtClean="0"/>
                        <a:t>Автоматизация процесса раздевания и одевания</a:t>
                      </a:r>
                      <a:endParaRPr lang="ru-RU" sz="1400" dirty="0" smtClean="0"/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Полещук Е.Е</a:t>
                      </a:r>
                      <a:r>
                        <a:rPr lang="ru-RU" sz="1600" dirty="0" smtClean="0"/>
                        <a:t>. </a:t>
                      </a:r>
                      <a:r>
                        <a:rPr lang="ru-RU" sz="1600" dirty="0" smtClean="0"/>
                        <a:t>воспитатель</a:t>
                      </a:r>
                    </a:p>
                    <a:p>
                      <a:pPr algn="ctr"/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1441881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Беспорядок внутри детских шкафчиков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Спешка родителей</a:t>
                      </a:r>
                      <a:r>
                        <a:rPr lang="ru-RU" sz="1400" baseline="0" dirty="0" smtClean="0"/>
                        <a:t> и детей.</a:t>
                      </a:r>
                      <a:endParaRPr lang="ru-RU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Разработать блок схему размещения вещей в шкафчике.</a:t>
                      </a:r>
                    </a:p>
                    <a:p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Шилина К.А.</a:t>
                      </a:r>
                    </a:p>
                    <a:p>
                      <a:pPr algn="ctr"/>
                      <a:r>
                        <a:rPr lang="ru-RU" sz="1600" dirty="0" smtClean="0"/>
                        <a:t>воспитатель</a:t>
                      </a:r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197165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5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Отсутствие единой системы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Много отвлекающих факторов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Разработать алгоритм</a:t>
                      </a:r>
                      <a:r>
                        <a:rPr lang="ru-RU" sz="1400" baseline="0" dirty="0" smtClean="0"/>
                        <a:t> одевания (по сезонам)</a:t>
                      </a:r>
                      <a:endParaRPr lang="ru-RU" sz="1400" dirty="0" smtClean="0"/>
                    </a:p>
                    <a:p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Леонтьева </a:t>
                      </a:r>
                      <a:r>
                        <a:rPr lang="ru-RU" sz="1600" dirty="0" smtClean="0"/>
                        <a:t>Л.М.</a:t>
                      </a:r>
                      <a:r>
                        <a:rPr lang="ru-RU" sz="1600" baseline="0" dirty="0" smtClean="0"/>
                        <a:t> </a:t>
                      </a:r>
                      <a:r>
                        <a:rPr lang="ru-RU" sz="1600" dirty="0" smtClean="0"/>
                        <a:t>воспитатель</a:t>
                      </a:r>
                      <a:endParaRPr lang="ru-RU" sz="1600" dirty="0" smtClean="0"/>
                    </a:p>
                    <a:p>
                      <a:pPr algn="ctr"/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34027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659217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ISNEWSLIDENUMBER" val="True"/>
  <p:tag name="PREVIOUSNAME" val="C:\Users\Nikolay Deev-MSW\Desktop\RDM027.potx"/>
  <p:tag name="THINKCELLPRESENTATIONDONOTDELETE" val="&lt;?xml version=&quot;1.0&quot; encoding=&quot;UTF-16&quot; standalone=&quot;yes&quot;?&gt;&#10;&lt;root reqver=&quot;17839&quot;&gt;&lt;version val=&quot;2112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4.09510000000000040000E+000&quot;&gt;&lt;m_ppcolschidx val=&quot;0&quot;/&gt;&lt;m_rgb r=&quot;27&quot; g=&quot;b8&quot; b=&quot;2f&quot;/&gt;&lt;/elem&gt;&lt;elem m_fUsage=&quot;1.44020511000000020000E+000&quot;&gt;&lt;m_ppcolschidx val=&quot;0&quot;/&gt;&lt;m_rgb r=&quot;f2&quot; g=&quot;fd&quot; b=&quot;24&quot;/&gt;&lt;/elem&gt;&lt;elem m_fUsage=&quot;6.62489036190000100000E-001&quot;&gt;&lt;m_ppcolschidx val=&quot;0&quot;/&gt;&lt;m_rgb r=&quot;fd&quot; g=&quot;91&quot; b=&quot;24&quot;/&gt;&lt;/elem&gt;&lt;elem m_fUsage=&quot;5.90490000000000180000E-001&quot;&gt;&lt;m_ppcolschidx val=&quot;0&quot;/&gt;&lt;m_rgb r=&quot;ad&quot; g=&quot;de&quot; b=&quot;e7&quot;/&gt;&lt;/elem&gt;&lt;elem m_fUsage=&quot;5.11197461030610150000E-001&quot;&gt;&lt;m_ppcolschidx val=&quot;0&quot;/&gt;&lt;m_rgb r=&quot;b2&quot; g=&quot;b2&quot; b=&quot;b2&quot;/&gt;&lt;/elem&gt;&lt;elem m_fUsage=&quot;3.87420489000000150000E-001&quot;&gt;&lt;m_ppcolschidx val=&quot;0&quot;/&gt;&lt;m_rgb r=&quot;fe&quot; g=&quot;34&quot; b=&quot;39&quot;/&gt;&lt;/elem&gt;&lt;elem m_fUsage=&quot;2.54186582832900130000E-001&quot;&gt;&lt;m_ppcolschidx val=&quot;0&quot;/&gt;&lt;m_rgb r=&quot;dd&quot; g=&quot;dd&quot; b=&quot;dd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#d.%#m.%y&lt;/m_strFormatTime&gt;&lt;/m_precDefault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2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image" Target="../media/image10.jpeg"/></Relationships>
</file>

<file path=ppt/theme/theme1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0.xml><?xml version="1.0" encoding="utf-8"?>
<a:theme xmlns:a="http://schemas.openxmlformats.org/drawingml/2006/main" name="9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1.xml><?xml version="1.0" encoding="utf-8"?>
<a:theme xmlns:a="http://schemas.openxmlformats.org/drawingml/2006/main" name="10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2.xml><?xml version="1.0" encoding="utf-8"?>
<a:theme xmlns:a="http://schemas.openxmlformats.org/drawingml/2006/main" name="Углы">
  <a:themeElements>
    <a:clrScheme name="Углы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96A1B"/>
      </a:accent2>
      <a:accent3>
        <a:srgbClr val="08A1D9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Углы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Углы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0000"/>
                <a:shade val="85000"/>
              </a:schemeClr>
              <a:schemeClr val="phClr">
                <a:tint val="95000"/>
                <a:shade val="99000"/>
              </a:schemeClr>
            </a:duotone>
          </a:blip>
          <a:tile tx="0" ty="0" sx="100000" sy="100000" flip="none" algn="tl"/>
        </a:blipFill>
        <a:blipFill rotWithShape="1">
          <a:blip xmlns:r="http://schemas.openxmlformats.org/officeDocument/2006/relationships" r:embed="rId2">
            <a:duotone>
              <a:schemeClr val="phClr">
                <a:tint val="93000"/>
                <a:shade val="85000"/>
              </a:schemeClr>
              <a:schemeClr val="phClr">
                <a:tint val="96000"/>
                <a:shade val="99000"/>
              </a:schemeClr>
            </a:duotone>
          </a:blip>
          <a:tile tx="0" ty="0" sx="90000" sy="90000" flip="none" algn="tl"/>
        </a:blip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3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4.xml><?xml version="1.0" encoding="utf-8"?>
<a:theme xmlns:a="http://schemas.openxmlformats.org/drawingml/2006/main" name="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5.xml><?xml version="1.0" encoding="utf-8"?>
<a:theme xmlns:a="http://schemas.openxmlformats.org/drawingml/2006/main" name="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6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7.xml><?xml version="1.0" encoding="utf-8"?>
<a:theme xmlns:a="http://schemas.openxmlformats.org/drawingml/2006/main" name="6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8.xml><?xml version="1.0" encoding="utf-8"?>
<a:theme xmlns:a="http://schemas.openxmlformats.org/drawingml/2006/main" name="7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9.xml><?xml version="1.0" encoding="utf-8"?>
<a:theme xmlns:a="http://schemas.openxmlformats.org/drawingml/2006/main" name="8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DM027</Template>
  <TotalTime>40428</TotalTime>
  <Words>1061</Words>
  <Application>Microsoft Office PowerPoint</Application>
  <PresentationFormat>Произвольный</PresentationFormat>
  <Paragraphs>268</Paragraphs>
  <Slides>17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30" baseType="lpstr">
      <vt:lpstr>RDM027</vt:lpstr>
      <vt:lpstr>1_RDM027</vt:lpstr>
      <vt:lpstr>2_RDM027</vt:lpstr>
      <vt:lpstr>3_RDM027</vt:lpstr>
      <vt:lpstr>4_RDM027</vt:lpstr>
      <vt:lpstr>5_RDM027</vt:lpstr>
      <vt:lpstr>6_RDM027</vt:lpstr>
      <vt:lpstr>7_RDM027</vt:lpstr>
      <vt:lpstr>8_RDM027</vt:lpstr>
      <vt:lpstr>9_RDM027</vt:lpstr>
      <vt:lpstr>10_RDM027</vt:lpstr>
      <vt:lpstr>Углы</vt:lpstr>
      <vt:lpstr>think-cell Slide</vt:lpstr>
      <vt:lpstr>Муниципальное автономное дошкольное образовательное учреждение  Детский сад № 2 «орлёнок»  муниципального образования  город-курорт Анапа</vt:lpstr>
      <vt:lpstr>Паспорт проекта </vt:lpstr>
      <vt:lpstr>Команда проекта </vt:lpstr>
      <vt:lpstr>Слайд 3</vt:lpstr>
      <vt:lpstr>Пирамида проблем</vt:lpstr>
      <vt:lpstr>Слайд 5</vt:lpstr>
      <vt:lpstr>Слайд 6</vt:lpstr>
      <vt:lpstr>Слайд 7</vt:lpstr>
      <vt:lpstr>План мероприятий ( «Дорожная карта») по устранению проблем ( оптимизации процесса сбора детей на прогулку с помощью алгоритмов»</vt:lpstr>
      <vt:lpstr>Слайд 9</vt:lpstr>
      <vt:lpstr>Планируемые  результаты  </vt:lpstr>
      <vt:lpstr>Планируемые  результаты  </vt:lpstr>
      <vt:lpstr>Слайд 12</vt:lpstr>
      <vt:lpstr>Слайд 13</vt:lpstr>
      <vt:lpstr>Слайд 14</vt:lpstr>
      <vt:lpstr>Слайд 15</vt:lpstr>
      <vt:lpstr>28 июня 2024 года проект завершится, внедрённые   улучшения  на этапах его реализации, останутся.  Значит мы все трудились не напрасно!  Спасибо за внимание!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лан реализации ПСР проекта</dc:title>
  <dc:creator>Yulia Semenova</dc:creator>
  <cp:lastModifiedBy>Пользователь</cp:lastModifiedBy>
  <cp:revision>2311</cp:revision>
  <cp:lastPrinted>2020-02-11T14:25:43Z</cp:lastPrinted>
  <dcterms:created xsi:type="dcterms:W3CDTF">2014-11-19T15:14:37Z</dcterms:created>
  <dcterms:modified xsi:type="dcterms:W3CDTF">2024-04-22T13:16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